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1" r:id="rId3"/>
  </p:sldMasterIdLst>
  <p:notesMasterIdLst>
    <p:notesMasterId r:id="rId6"/>
  </p:notesMasterIdLst>
  <p:handoutMasterIdLst>
    <p:handoutMasterId r:id="rId7"/>
  </p:handoutMasterIdLst>
  <p:sldIdLst>
    <p:sldId id="2147479901" r:id="rId4"/>
    <p:sldId id="2147479903" r:id="rId5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B1BA2E-0A61-9A48-B469-8C9169551C17}" v="26" dt="2024-04-16T08:20:48.0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210" autoAdjust="0"/>
    <p:restoredTop sz="94793" autoAdjust="0"/>
  </p:normalViewPr>
  <p:slideViewPr>
    <p:cSldViewPr snapToGrid="0" showGuides="1">
      <p:cViewPr varScale="1">
        <p:scale>
          <a:sx n="128" d="100"/>
          <a:sy n="128" d="100"/>
        </p:scale>
        <p:origin x="1016" y="17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94"/>
    </p:cViewPr>
  </p:sorterViewPr>
  <p:notesViewPr>
    <p:cSldViewPr snapToGrid="0" showGuides="1">
      <p:cViewPr varScale="1">
        <p:scale>
          <a:sx n="92" d="100"/>
          <a:sy n="92" d="100"/>
        </p:scale>
        <p:origin x="4042" y="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slideMaster" Target="slideMasters/slideMaster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281B756-25EC-4056-B093-9F7526CF29C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60DBF9-387B-47BE-9EA9-B51570CA7E7B}" type="datetimeFigureOut">
              <a:rPr lang="de-DE" sz="1000" smtClean="0">
                <a:solidFill>
                  <a:schemeClr val="tx2"/>
                </a:solidFill>
              </a:rPr>
              <a:t>03.06.25</a:t>
            </a:fld>
            <a:endParaRPr lang="de-DE" sz="100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174463-DF9B-4816-8928-D7AD17F33B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81AC94-A6E6-4850-BB29-E31EB708CD3E}" type="slidenum">
              <a:rPr lang="de-DE" sz="1000" smtClean="0">
                <a:solidFill>
                  <a:schemeClr val="tx2"/>
                </a:solidFill>
              </a:rPr>
              <a:t>‹#›</a:t>
            </a:fld>
            <a:endParaRPr lang="de-DE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3163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45C0D7D-5195-4F5B-87E7-13C7BF9E7F29}" type="datetimeFigureOut">
              <a:rPr lang="de-DE" smtClean="0"/>
              <a:pPr/>
              <a:t>03.06.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1200" y="1242000"/>
            <a:ext cx="5958400" cy="3351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400" y="477720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016D19BE-3AE1-4040-9C45-706455FE579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1402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icture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F75BA6B-F8C2-E807-8022-A1B4DE60EA7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B5BA48-4454-7A0D-6DFB-3E6FCD2CEC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6" y="6188074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400" b="0" i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fld id="{839F1E32-B95E-EF4D-87DF-C15F9AC4160D}" type="datetime4">
              <a:rPr lang="de-DE" smtClean="0"/>
              <a:t>20. Juli 2023</a:t>
            </a:fld>
            <a:r>
              <a:rPr lang="de-DE"/>
              <a:t> - SENACOR TECHNOLOGIES A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55B362C6-4BE1-4F9E-45D3-6FDD278DEB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628849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800" b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r>
              <a:rPr lang="de-DE"/>
              <a:t>Autor oder Untertit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95A01BE-687A-73AA-CDAA-6AF5D6EE4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81469"/>
            <a:ext cx="11233149" cy="492443"/>
          </a:xfrm>
        </p:spPr>
        <p:txBody>
          <a:bodyPr/>
          <a:lstStyle>
            <a:lvl1pPr algn="l"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1770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lo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5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75253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7525375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BFF90CE-A2FF-C02C-F80D-4DE000A6C398}"/>
              </a:ext>
            </a:extLst>
          </p:cNvPr>
          <p:cNvSpPr/>
          <p:nvPr userDrawn="1"/>
        </p:nvSpPr>
        <p:spPr>
          <a:xfrm>
            <a:off x="8232000" y="0"/>
            <a:ext cx="3960000" cy="6858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25B8628-142D-7ED1-68D7-25FD892A12F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435975" y="1692000"/>
            <a:ext cx="3264025" cy="4500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23C70CF-753F-D510-E895-E3CFD6EB45D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28" name="Freihandform: Form 7">
              <a:extLst>
                <a:ext uri="{FF2B5EF4-FFF2-40B4-BE49-F238E27FC236}">
                  <a16:creationId xmlns:a16="http://schemas.microsoft.com/office/drawing/2014/main" id="{5CDB7669-1DB2-0FAC-F801-24DEB2DD2743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8">
              <a:extLst>
                <a:ext uri="{FF2B5EF4-FFF2-40B4-BE49-F238E27FC236}">
                  <a16:creationId xmlns:a16="http://schemas.microsoft.com/office/drawing/2014/main" id="{27FB14C3-E947-F413-8FD2-A7AF1E7989E9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9">
              <a:extLst>
                <a:ext uri="{FF2B5EF4-FFF2-40B4-BE49-F238E27FC236}">
                  <a16:creationId xmlns:a16="http://schemas.microsoft.com/office/drawing/2014/main" id="{28A2959C-3FEE-8DF2-EE48-3A24798455B6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10">
              <a:extLst>
                <a:ext uri="{FF2B5EF4-FFF2-40B4-BE49-F238E27FC236}">
                  <a16:creationId xmlns:a16="http://schemas.microsoft.com/office/drawing/2014/main" id="{795D6829-EB25-0728-76A8-AB446BA22CE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1">
              <a:extLst>
                <a:ext uri="{FF2B5EF4-FFF2-40B4-BE49-F238E27FC236}">
                  <a16:creationId xmlns:a16="http://schemas.microsoft.com/office/drawing/2014/main" id="{0B852306-ADD4-B60B-EC90-CC7B5907D9C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2">
              <a:extLst>
                <a:ext uri="{FF2B5EF4-FFF2-40B4-BE49-F238E27FC236}">
                  <a16:creationId xmlns:a16="http://schemas.microsoft.com/office/drawing/2014/main" id="{5F3B4D96-3417-D8F2-FD63-C5B77B61045F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3">
              <a:extLst>
                <a:ext uri="{FF2B5EF4-FFF2-40B4-BE49-F238E27FC236}">
                  <a16:creationId xmlns:a16="http://schemas.microsoft.com/office/drawing/2014/main" id="{B82861F6-CFA3-DF75-5B2D-72F5B0766AF1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4792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42">
          <p15:clr>
            <a:srgbClr val="FBAE40"/>
          </p15:clr>
        </p15:guide>
        <p15:guide id="3" pos="5178">
          <p15:clr>
            <a:srgbClr val="FBAE40"/>
          </p15:clr>
        </p15:guide>
        <p15:guide id="4" pos="531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lock Smal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181667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9181667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9181667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BFF90CE-A2FF-C02C-F80D-4DE000A6C398}"/>
              </a:ext>
            </a:extLst>
          </p:cNvPr>
          <p:cNvSpPr/>
          <p:nvPr userDrawn="1"/>
        </p:nvSpPr>
        <p:spPr>
          <a:xfrm>
            <a:off x="9852000" y="0"/>
            <a:ext cx="2340000" cy="6858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23C70CF-753F-D510-E895-E3CFD6EB45D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28" name="Freihandform: Form 7">
              <a:extLst>
                <a:ext uri="{FF2B5EF4-FFF2-40B4-BE49-F238E27FC236}">
                  <a16:creationId xmlns:a16="http://schemas.microsoft.com/office/drawing/2014/main" id="{5CDB7669-1DB2-0FAC-F801-24DEB2DD2743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8">
              <a:extLst>
                <a:ext uri="{FF2B5EF4-FFF2-40B4-BE49-F238E27FC236}">
                  <a16:creationId xmlns:a16="http://schemas.microsoft.com/office/drawing/2014/main" id="{27FB14C3-E947-F413-8FD2-A7AF1E7989E9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9">
              <a:extLst>
                <a:ext uri="{FF2B5EF4-FFF2-40B4-BE49-F238E27FC236}">
                  <a16:creationId xmlns:a16="http://schemas.microsoft.com/office/drawing/2014/main" id="{28A2959C-3FEE-8DF2-EE48-3A24798455B6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10">
              <a:extLst>
                <a:ext uri="{FF2B5EF4-FFF2-40B4-BE49-F238E27FC236}">
                  <a16:creationId xmlns:a16="http://schemas.microsoft.com/office/drawing/2014/main" id="{795D6829-EB25-0728-76A8-AB446BA22CE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1">
              <a:extLst>
                <a:ext uri="{FF2B5EF4-FFF2-40B4-BE49-F238E27FC236}">
                  <a16:creationId xmlns:a16="http://schemas.microsoft.com/office/drawing/2014/main" id="{0B852306-ADD4-B60B-EC90-CC7B5907D9C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2">
              <a:extLst>
                <a:ext uri="{FF2B5EF4-FFF2-40B4-BE49-F238E27FC236}">
                  <a16:creationId xmlns:a16="http://schemas.microsoft.com/office/drawing/2014/main" id="{5F3B4D96-3417-D8F2-FD63-C5B77B61045F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3">
              <a:extLst>
                <a:ext uri="{FF2B5EF4-FFF2-40B4-BE49-F238E27FC236}">
                  <a16:creationId xmlns:a16="http://schemas.microsoft.com/office/drawing/2014/main" id="{B82861F6-CFA3-DF75-5B2D-72F5B0766AF1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8597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6085">
          <p15:clr>
            <a:srgbClr val="FBAE40"/>
          </p15:clr>
        </p15:guide>
        <p15:guide id="4" pos="619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5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75253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7525375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50AB6BBE-0061-31AA-C7C9-1D13AD444AF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435976" y="4249"/>
            <a:ext cx="3756024" cy="63817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E978CC3F-43EF-C41F-FF6F-3A1821D12AEC}"/>
              </a:ext>
            </a:extLst>
          </p:cNvPr>
          <p:cNvGrpSpPr/>
          <p:nvPr userDrawn="1"/>
        </p:nvGrpSpPr>
        <p:grpSpPr>
          <a:xfrm>
            <a:off x="10230531" y="365260"/>
            <a:ext cx="1472671" cy="212964"/>
            <a:chOff x="10240056" y="330434"/>
            <a:chExt cx="1472671" cy="212964"/>
          </a:xfrm>
        </p:grpSpPr>
        <p:sp>
          <p:nvSpPr>
            <p:cNvPr id="29" name="Freihandform: Form 7">
              <a:extLst>
                <a:ext uri="{FF2B5EF4-FFF2-40B4-BE49-F238E27FC236}">
                  <a16:creationId xmlns:a16="http://schemas.microsoft.com/office/drawing/2014/main" id="{994FB37B-455B-ED21-9864-D0A29776AFF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8">
              <a:extLst>
                <a:ext uri="{FF2B5EF4-FFF2-40B4-BE49-F238E27FC236}">
                  <a16:creationId xmlns:a16="http://schemas.microsoft.com/office/drawing/2014/main" id="{CFA7F90D-C968-E5FF-CA07-3EA7301C8E7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9">
              <a:extLst>
                <a:ext uri="{FF2B5EF4-FFF2-40B4-BE49-F238E27FC236}">
                  <a16:creationId xmlns:a16="http://schemas.microsoft.com/office/drawing/2014/main" id="{274C797D-2B6E-00A4-DA0B-9FF063CE54E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0">
              <a:extLst>
                <a:ext uri="{FF2B5EF4-FFF2-40B4-BE49-F238E27FC236}">
                  <a16:creationId xmlns:a16="http://schemas.microsoft.com/office/drawing/2014/main" id="{03B23200-5FEC-8BAB-90A4-3B2A4977D61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1">
              <a:extLst>
                <a:ext uri="{FF2B5EF4-FFF2-40B4-BE49-F238E27FC236}">
                  <a16:creationId xmlns:a16="http://schemas.microsoft.com/office/drawing/2014/main" id="{351EFA1C-8B85-0BFA-4558-18EF2537A881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2">
              <a:extLst>
                <a:ext uri="{FF2B5EF4-FFF2-40B4-BE49-F238E27FC236}">
                  <a16:creationId xmlns:a16="http://schemas.microsoft.com/office/drawing/2014/main" id="{9A2AFE66-B8AD-04BA-389A-00A6E15190E5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ihandform: Form 13">
              <a:extLst>
                <a:ext uri="{FF2B5EF4-FFF2-40B4-BE49-F238E27FC236}">
                  <a16:creationId xmlns:a16="http://schemas.microsoft.com/office/drawing/2014/main" id="{23F8B919-D2D3-C296-0382-3E894102D8A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3C955738-85FF-4E89-54A5-AB65B8D1F60A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37" name="Freihandform: Form 7">
              <a:extLst>
                <a:ext uri="{FF2B5EF4-FFF2-40B4-BE49-F238E27FC236}">
                  <a16:creationId xmlns:a16="http://schemas.microsoft.com/office/drawing/2014/main" id="{D715445B-CD05-D140-6FE5-1FDB2E84F24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ihandform: Form 8">
              <a:extLst>
                <a:ext uri="{FF2B5EF4-FFF2-40B4-BE49-F238E27FC236}">
                  <a16:creationId xmlns:a16="http://schemas.microsoft.com/office/drawing/2014/main" id="{655D33F0-DE72-7BB7-8145-6F90A4D120A1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ihandform: Form 9">
              <a:extLst>
                <a:ext uri="{FF2B5EF4-FFF2-40B4-BE49-F238E27FC236}">
                  <a16:creationId xmlns:a16="http://schemas.microsoft.com/office/drawing/2014/main" id="{1E15F16B-2252-32ED-59A4-6DC75FCAC06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ihandform: Form 10">
              <a:extLst>
                <a:ext uri="{FF2B5EF4-FFF2-40B4-BE49-F238E27FC236}">
                  <a16:creationId xmlns:a16="http://schemas.microsoft.com/office/drawing/2014/main" id="{ED68C76F-A021-3F5C-E347-8D19FE69D18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ihandform: Form 11">
              <a:extLst>
                <a:ext uri="{FF2B5EF4-FFF2-40B4-BE49-F238E27FC236}">
                  <a16:creationId xmlns:a16="http://schemas.microsoft.com/office/drawing/2014/main" id="{1C6BD9A9-431D-E021-23A4-BDDEDB30501C}"/>
                </a:ext>
              </a:extLst>
            </p:cNvPr>
            <p:cNvSpPr/>
            <p:nvPr userDrawn="1"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ihandform: Form 12">
              <a:extLst>
                <a:ext uri="{FF2B5EF4-FFF2-40B4-BE49-F238E27FC236}">
                  <a16:creationId xmlns:a16="http://schemas.microsoft.com/office/drawing/2014/main" id="{F369213B-E233-D1BD-714A-C282781A718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ihandform: Form 13">
              <a:extLst>
                <a:ext uri="{FF2B5EF4-FFF2-40B4-BE49-F238E27FC236}">
                  <a16:creationId xmlns:a16="http://schemas.microsoft.com/office/drawing/2014/main" id="{20528F7C-A5C0-322F-15A7-A6EB0EBB1164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7011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42">
          <p15:clr>
            <a:srgbClr val="FBAE40"/>
          </p15:clr>
        </p15:guide>
        <p15:guide id="3" pos="5178">
          <p15:clr>
            <a:srgbClr val="FBAE40"/>
          </p15:clr>
        </p15:guide>
        <p15:guide id="4" pos="531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1" y="396000"/>
            <a:ext cx="5472738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5472739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2000"/>
            <a:ext cx="5472738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50AB6BBE-0061-31AA-C7C9-1D13AD444AF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40463" y="0"/>
            <a:ext cx="5951537" cy="638175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E978CC3F-43EF-C41F-FF6F-3A1821D12AEC}"/>
              </a:ext>
            </a:extLst>
          </p:cNvPr>
          <p:cNvGrpSpPr/>
          <p:nvPr userDrawn="1"/>
        </p:nvGrpSpPr>
        <p:grpSpPr>
          <a:xfrm>
            <a:off x="10240056" y="333510"/>
            <a:ext cx="1472671" cy="212964"/>
            <a:chOff x="10240056" y="330434"/>
            <a:chExt cx="1472671" cy="212964"/>
          </a:xfrm>
        </p:grpSpPr>
        <p:sp>
          <p:nvSpPr>
            <p:cNvPr id="29" name="Freihandform: Form 7">
              <a:extLst>
                <a:ext uri="{FF2B5EF4-FFF2-40B4-BE49-F238E27FC236}">
                  <a16:creationId xmlns:a16="http://schemas.microsoft.com/office/drawing/2014/main" id="{994FB37B-455B-ED21-9864-D0A29776AFF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8">
              <a:extLst>
                <a:ext uri="{FF2B5EF4-FFF2-40B4-BE49-F238E27FC236}">
                  <a16:creationId xmlns:a16="http://schemas.microsoft.com/office/drawing/2014/main" id="{CFA7F90D-C968-E5FF-CA07-3EA7301C8E7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9">
              <a:extLst>
                <a:ext uri="{FF2B5EF4-FFF2-40B4-BE49-F238E27FC236}">
                  <a16:creationId xmlns:a16="http://schemas.microsoft.com/office/drawing/2014/main" id="{274C797D-2B6E-00A4-DA0B-9FF063CE54E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0">
              <a:extLst>
                <a:ext uri="{FF2B5EF4-FFF2-40B4-BE49-F238E27FC236}">
                  <a16:creationId xmlns:a16="http://schemas.microsoft.com/office/drawing/2014/main" id="{03B23200-5FEC-8BAB-90A4-3B2A4977D61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1">
              <a:extLst>
                <a:ext uri="{FF2B5EF4-FFF2-40B4-BE49-F238E27FC236}">
                  <a16:creationId xmlns:a16="http://schemas.microsoft.com/office/drawing/2014/main" id="{351EFA1C-8B85-0BFA-4558-18EF2537A881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2">
              <a:extLst>
                <a:ext uri="{FF2B5EF4-FFF2-40B4-BE49-F238E27FC236}">
                  <a16:creationId xmlns:a16="http://schemas.microsoft.com/office/drawing/2014/main" id="{9A2AFE66-B8AD-04BA-389A-00A6E15190E5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ihandform: Form 13">
              <a:extLst>
                <a:ext uri="{FF2B5EF4-FFF2-40B4-BE49-F238E27FC236}">
                  <a16:creationId xmlns:a16="http://schemas.microsoft.com/office/drawing/2014/main" id="{23F8B919-D2D3-C296-0382-3E894102D8A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E17F75F-BC35-D4DC-FD0E-17F3F27921B9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D35FE251-4C46-AFE1-622E-62FF0BB7E24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40034F92-27D8-24F6-F38C-DE70FC67E072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1489A1B-9633-5BD2-B3D2-EF79EA42BEAC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EBE72D7-EDD3-F309-E174-E30ED1CEA3B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94353866-F3D3-CBF0-47F0-5937D4B8946B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47CF9938-8004-AE5D-C723-D663967E854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1C8FA3D1-CA91-E403-21D8-2671789E5F46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83573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4" pos="393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74116D9-19C4-8998-4BFB-1EF6E55BE746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24" name="Freihandform: Form 7">
              <a:extLst>
                <a:ext uri="{FF2B5EF4-FFF2-40B4-BE49-F238E27FC236}">
                  <a16:creationId xmlns:a16="http://schemas.microsoft.com/office/drawing/2014/main" id="{8DFA4C63-152A-DE5D-8685-482516025850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ihandform: Form 8">
              <a:extLst>
                <a:ext uri="{FF2B5EF4-FFF2-40B4-BE49-F238E27FC236}">
                  <a16:creationId xmlns:a16="http://schemas.microsoft.com/office/drawing/2014/main" id="{3F231653-1AEE-12DA-A8E9-FF3E1FC37F3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ihandform: Form 9">
              <a:extLst>
                <a:ext uri="{FF2B5EF4-FFF2-40B4-BE49-F238E27FC236}">
                  <a16:creationId xmlns:a16="http://schemas.microsoft.com/office/drawing/2014/main" id="{5481FC86-F6D6-A2B6-B975-6F20390D46C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ihandform: Form 10">
              <a:extLst>
                <a:ext uri="{FF2B5EF4-FFF2-40B4-BE49-F238E27FC236}">
                  <a16:creationId xmlns:a16="http://schemas.microsoft.com/office/drawing/2014/main" id="{4129373B-C3BE-9541-3832-6E92DE947B7B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0AA3BAE7-6DC3-9FE4-6C4B-CDD907363E5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F8F03606-DE20-CD1F-8922-44A49F5C287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DA975CBB-FFBE-8484-0724-0B9B53593649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extplatzhalter 22">
            <a:extLst>
              <a:ext uri="{FF2B5EF4-FFF2-40B4-BE49-F238E27FC236}">
                <a16:creationId xmlns:a16="http://schemas.microsoft.com/office/drawing/2014/main" id="{4FD97F01-8991-8476-52EA-1023CB8F9A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00000" y="194357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4" name="Textplatzhalter 22">
            <a:extLst>
              <a:ext uri="{FF2B5EF4-FFF2-40B4-BE49-F238E27FC236}">
                <a16:creationId xmlns:a16="http://schemas.microsoft.com/office/drawing/2014/main" id="{5EFD14C4-45EE-5504-7E94-52BF73C169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000" y="2681324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5" name="Textplatzhalter 22">
            <a:extLst>
              <a:ext uri="{FF2B5EF4-FFF2-40B4-BE49-F238E27FC236}">
                <a16:creationId xmlns:a16="http://schemas.microsoft.com/office/drawing/2014/main" id="{BA34C179-8D2F-19E1-475E-5262BE7848B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0000" y="341907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AEE2AFB2-B973-3AA3-9FB0-534A5975DB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00000" y="4156820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82C7778B-3773-E643-B5AF-2CAC47EA2BE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00000" y="4894568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76C4961A-A220-29F5-5B2D-B56E0D2447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000" y="563231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cxnSp>
        <p:nvCxnSpPr>
          <p:cNvPr id="12" name="Gerade Verbindung 10">
            <a:extLst>
              <a:ext uri="{FF2B5EF4-FFF2-40B4-BE49-F238E27FC236}">
                <a16:creationId xmlns:a16="http://schemas.microsoft.com/office/drawing/2014/main" id="{048E41A8-056B-67A3-AE3B-70BB8DC62585}"/>
              </a:ext>
            </a:extLst>
          </p:cNvPr>
          <p:cNvCxnSpPr>
            <a:cxnSpLocks/>
          </p:cNvCxnSpPr>
          <p:nvPr userDrawn="1"/>
        </p:nvCxnSpPr>
        <p:spPr>
          <a:xfrm>
            <a:off x="479425" y="185999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1">
            <a:extLst>
              <a:ext uri="{FF2B5EF4-FFF2-40B4-BE49-F238E27FC236}">
                <a16:creationId xmlns:a16="http://schemas.microsoft.com/office/drawing/2014/main" id="{77D9B00D-39CF-9D4A-182E-A6473C7D2A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005575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CABB9250-D0AF-BD5F-5D37-D25CBD23DCD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151158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8">
            <a:extLst>
              <a:ext uri="{FF2B5EF4-FFF2-40B4-BE49-F238E27FC236}">
                <a16:creationId xmlns:a16="http://schemas.microsoft.com/office/drawing/2014/main" id="{72BD2FC9-0253-0AA2-BF95-B8DA338BC4AD}"/>
              </a:ext>
            </a:extLst>
          </p:cNvPr>
          <p:cNvCxnSpPr>
            <a:cxnSpLocks/>
          </p:cNvCxnSpPr>
          <p:nvPr userDrawn="1"/>
        </p:nvCxnSpPr>
        <p:spPr>
          <a:xfrm>
            <a:off x="479425" y="2296741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9">
            <a:extLst>
              <a:ext uri="{FF2B5EF4-FFF2-40B4-BE49-F238E27FC236}">
                <a16:creationId xmlns:a16="http://schemas.microsoft.com/office/drawing/2014/main" id="{D49B95D5-FF21-FAFA-D409-3C5271929EFC}"/>
              </a:ext>
            </a:extLst>
          </p:cNvPr>
          <p:cNvCxnSpPr>
            <a:cxnSpLocks/>
          </p:cNvCxnSpPr>
          <p:nvPr userDrawn="1"/>
        </p:nvCxnSpPr>
        <p:spPr>
          <a:xfrm>
            <a:off x="479425" y="2442324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40">
            <a:extLst>
              <a:ext uri="{FF2B5EF4-FFF2-40B4-BE49-F238E27FC236}">
                <a16:creationId xmlns:a16="http://schemas.microsoft.com/office/drawing/2014/main" id="{5A485468-CBE1-84E6-8A8D-5E8237F905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58790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49">
            <a:extLst>
              <a:ext uri="{FF2B5EF4-FFF2-40B4-BE49-F238E27FC236}">
                <a16:creationId xmlns:a16="http://schemas.microsoft.com/office/drawing/2014/main" id="{AE9007DE-4214-02C7-D515-77E6FB6C5B66}"/>
              </a:ext>
            </a:extLst>
          </p:cNvPr>
          <p:cNvCxnSpPr>
            <a:cxnSpLocks/>
          </p:cNvCxnSpPr>
          <p:nvPr userDrawn="1"/>
        </p:nvCxnSpPr>
        <p:spPr>
          <a:xfrm>
            <a:off x="479425" y="2733490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50">
            <a:extLst>
              <a:ext uri="{FF2B5EF4-FFF2-40B4-BE49-F238E27FC236}">
                <a16:creationId xmlns:a16="http://schemas.microsoft.com/office/drawing/2014/main" id="{74E8E4F5-5014-A425-B458-F517F1C1EFE2}"/>
              </a:ext>
            </a:extLst>
          </p:cNvPr>
          <p:cNvCxnSpPr>
            <a:cxnSpLocks/>
          </p:cNvCxnSpPr>
          <p:nvPr userDrawn="1"/>
        </p:nvCxnSpPr>
        <p:spPr>
          <a:xfrm>
            <a:off x="479425" y="2879073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1">
            <a:extLst>
              <a:ext uri="{FF2B5EF4-FFF2-40B4-BE49-F238E27FC236}">
                <a16:creationId xmlns:a16="http://schemas.microsoft.com/office/drawing/2014/main" id="{8FB24DBD-9934-733D-55CC-BB44884C4BFE}"/>
              </a:ext>
            </a:extLst>
          </p:cNvPr>
          <p:cNvCxnSpPr>
            <a:cxnSpLocks/>
          </p:cNvCxnSpPr>
          <p:nvPr userDrawn="1"/>
        </p:nvCxnSpPr>
        <p:spPr>
          <a:xfrm>
            <a:off x="479425" y="3024656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52">
            <a:extLst>
              <a:ext uri="{FF2B5EF4-FFF2-40B4-BE49-F238E27FC236}">
                <a16:creationId xmlns:a16="http://schemas.microsoft.com/office/drawing/2014/main" id="{4C1F7AD6-D025-9F37-A0D9-46328705671C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7023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53">
            <a:extLst>
              <a:ext uri="{FF2B5EF4-FFF2-40B4-BE49-F238E27FC236}">
                <a16:creationId xmlns:a16="http://schemas.microsoft.com/office/drawing/2014/main" id="{FB8F5AD9-C12B-0E20-5037-C53B5B29F200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1582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54">
            <a:extLst>
              <a:ext uri="{FF2B5EF4-FFF2-40B4-BE49-F238E27FC236}">
                <a16:creationId xmlns:a16="http://schemas.microsoft.com/office/drawing/2014/main" id="{7F4C6D23-6798-1A39-BDC5-E2C5AAB5624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61405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55">
            <a:extLst>
              <a:ext uri="{FF2B5EF4-FFF2-40B4-BE49-F238E27FC236}">
                <a16:creationId xmlns:a16="http://schemas.microsoft.com/office/drawing/2014/main" id="{53406A94-7EAD-AC7E-58ED-59491933FEC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06988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56">
            <a:extLst>
              <a:ext uri="{FF2B5EF4-FFF2-40B4-BE49-F238E27FC236}">
                <a16:creationId xmlns:a16="http://schemas.microsoft.com/office/drawing/2014/main" id="{ACF9E571-5ACF-A0C7-497F-5CEAE2BECAA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752571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57">
            <a:extLst>
              <a:ext uri="{FF2B5EF4-FFF2-40B4-BE49-F238E27FC236}">
                <a16:creationId xmlns:a16="http://schemas.microsoft.com/office/drawing/2014/main" id="{2FD4EC0C-6E49-FBEC-A9F3-F35393013C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898154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58">
            <a:extLst>
              <a:ext uri="{FF2B5EF4-FFF2-40B4-BE49-F238E27FC236}">
                <a16:creationId xmlns:a16="http://schemas.microsoft.com/office/drawing/2014/main" id="{5A35BD7A-D2B0-6427-557E-C8543912D9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04373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59">
            <a:extLst>
              <a:ext uri="{FF2B5EF4-FFF2-40B4-BE49-F238E27FC236}">
                <a16:creationId xmlns:a16="http://schemas.microsoft.com/office/drawing/2014/main" id="{5723F194-1201-A41F-ACD9-6926DB727F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189320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60">
            <a:extLst>
              <a:ext uri="{FF2B5EF4-FFF2-40B4-BE49-F238E27FC236}">
                <a16:creationId xmlns:a16="http://schemas.microsoft.com/office/drawing/2014/main" id="{B0906E4E-4BEA-0A4E-73ED-A62C5F9EAAB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334903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61">
            <a:extLst>
              <a:ext uri="{FF2B5EF4-FFF2-40B4-BE49-F238E27FC236}">
                <a16:creationId xmlns:a16="http://schemas.microsoft.com/office/drawing/2014/main" id="{9DFBC9B9-7688-3627-3709-BFC198DB0B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480486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62">
            <a:extLst>
              <a:ext uri="{FF2B5EF4-FFF2-40B4-BE49-F238E27FC236}">
                <a16:creationId xmlns:a16="http://schemas.microsoft.com/office/drawing/2014/main" id="{3EE9DFA6-6FCE-E187-C091-AA009C683A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62606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67">
            <a:extLst>
              <a:ext uri="{FF2B5EF4-FFF2-40B4-BE49-F238E27FC236}">
                <a16:creationId xmlns:a16="http://schemas.microsoft.com/office/drawing/2014/main" id="{169D446B-197B-E8E4-C4B8-6B9270531177}"/>
              </a:ext>
            </a:extLst>
          </p:cNvPr>
          <p:cNvCxnSpPr>
            <a:cxnSpLocks/>
          </p:cNvCxnSpPr>
          <p:nvPr userDrawn="1"/>
        </p:nvCxnSpPr>
        <p:spPr>
          <a:xfrm>
            <a:off x="479425" y="477165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8">
            <a:extLst>
              <a:ext uri="{FF2B5EF4-FFF2-40B4-BE49-F238E27FC236}">
                <a16:creationId xmlns:a16="http://schemas.microsoft.com/office/drawing/2014/main" id="{6E0B7851-F7B8-B03C-5C36-A930577B1990}"/>
              </a:ext>
            </a:extLst>
          </p:cNvPr>
          <p:cNvCxnSpPr>
            <a:cxnSpLocks/>
          </p:cNvCxnSpPr>
          <p:nvPr userDrawn="1"/>
        </p:nvCxnSpPr>
        <p:spPr>
          <a:xfrm>
            <a:off x="479425" y="4917235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69">
            <a:extLst>
              <a:ext uri="{FF2B5EF4-FFF2-40B4-BE49-F238E27FC236}">
                <a16:creationId xmlns:a16="http://schemas.microsoft.com/office/drawing/2014/main" id="{0C8E6F93-2B36-5905-602F-AD78AE860C9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062818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70">
            <a:extLst>
              <a:ext uri="{FF2B5EF4-FFF2-40B4-BE49-F238E27FC236}">
                <a16:creationId xmlns:a16="http://schemas.microsoft.com/office/drawing/2014/main" id="{37529014-D070-0403-0AE3-F5B48030A0E4}"/>
              </a:ext>
            </a:extLst>
          </p:cNvPr>
          <p:cNvCxnSpPr>
            <a:cxnSpLocks/>
          </p:cNvCxnSpPr>
          <p:nvPr userDrawn="1"/>
        </p:nvCxnSpPr>
        <p:spPr>
          <a:xfrm>
            <a:off x="479425" y="5208401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71">
            <a:extLst>
              <a:ext uri="{FF2B5EF4-FFF2-40B4-BE49-F238E27FC236}">
                <a16:creationId xmlns:a16="http://schemas.microsoft.com/office/drawing/2014/main" id="{06302699-CCAD-14A4-F629-AB01351BB940}"/>
              </a:ext>
            </a:extLst>
          </p:cNvPr>
          <p:cNvCxnSpPr>
            <a:cxnSpLocks/>
          </p:cNvCxnSpPr>
          <p:nvPr userDrawn="1"/>
        </p:nvCxnSpPr>
        <p:spPr>
          <a:xfrm>
            <a:off x="479425" y="5353984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72">
            <a:extLst>
              <a:ext uri="{FF2B5EF4-FFF2-40B4-BE49-F238E27FC236}">
                <a16:creationId xmlns:a16="http://schemas.microsoft.com/office/drawing/2014/main" id="{955332B1-5AAE-C76A-F8B3-FF82D585B82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49956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73">
            <a:extLst>
              <a:ext uri="{FF2B5EF4-FFF2-40B4-BE49-F238E27FC236}">
                <a16:creationId xmlns:a16="http://schemas.microsoft.com/office/drawing/2014/main" id="{B81807EF-C0CF-37C3-FF37-68E3262AA91D}"/>
              </a:ext>
            </a:extLst>
          </p:cNvPr>
          <p:cNvCxnSpPr>
            <a:cxnSpLocks/>
          </p:cNvCxnSpPr>
          <p:nvPr userDrawn="1"/>
        </p:nvCxnSpPr>
        <p:spPr>
          <a:xfrm>
            <a:off x="479425" y="5645150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74">
            <a:extLst>
              <a:ext uri="{FF2B5EF4-FFF2-40B4-BE49-F238E27FC236}">
                <a16:creationId xmlns:a16="http://schemas.microsoft.com/office/drawing/2014/main" id="{C2B1CA07-82B7-94E6-D504-8652592BC77B}"/>
              </a:ext>
            </a:extLst>
          </p:cNvPr>
          <p:cNvCxnSpPr>
            <a:cxnSpLocks/>
          </p:cNvCxnSpPr>
          <p:nvPr userDrawn="1"/>
        </p:nvCxnSpPr>
        <p:spPr>
          <a:xfrm>
            <a:off x="479425" y="5790733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75">
            <a:extLst>
              <a:ext uri="{FF2B5EF4-FFF2-40B4-BE49-F238E27FC236}">
                <a16:creationId xmlns:a16="http://schemas.microsoft.com/office/drawing/2014/main" id="{E20FEDB6-1966-6896-4E59-7421D7E04F0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936316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76">
            <a:extLst>
              <a:ext uri="{FF2B5EF4-FFF2-40B4-BE49-F238E27FC236}">
                <a16:creationId xmlns:a16="http://schemas.microsoft.com/office/drawing/2014/main" id="{DEA6FB98-3799-B5ED-E790-548FC83FCE1E}"/>
              </a:ext>
            </a:extLst>
          </p:cNvPr>
          <p:cNvCxnSpPr>
            <a:cxnSpLocks/>
          </p:cNvCxnSpPr>
          <p:nvPr userDrawn="1"/>
        </p:nvCxnSpPr>
        <p:spPr>
          <a:xfrm>
            <a:off x="479425" y="608189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10">
            <a:extLst>
              <a:ext uri="{FF2B5EF4-FFF2-40B4-BE49-F238E27FC236}">
                <a16:creationId xmlns:a16="http://schemas.microsoft.com/office/drawing/2014/main" id="{A967CE3D-3AB3-D1E8-4F7B-443EDC39D03A}"/>
              </a:ext>
            </a:extLst>
          </p:cNvPr>
          <p:cNvCxnSpPr>
            <a:cxnSpLocks/>
          </p:cNvCxnSpPr>
          <p:nvPr userDrawn="1"/>
        </p:nvCxnSpPr>
        <p:spPr>
          <a:xfrm>
            <a:off x="478800" y="1565828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11">
            <a:extLst>
              <a:ext uri="{FF2B5EF4-FFF2-40B4-BE49-F238E27FC236}">
                <a16:creationId xmlns:a16="http://schemas.microsoft.com/office/drawing/2014/main" id="{D6D4AFB2-BF56-8827-9501-E6E73DE1D508}"/>
              </a:ext>
            </a:extLst>
          </p:cNvPr>
          <p:cNvCxnSpPr>
            <a:cxnSpLocks/>
          </p:cNvCxnSpPr>
          <p:nvPr userDrawn="1"/>
        </p:nvCxnSpPr>
        <p:spPr>
          <a:xfrm>
            <a:off x="478800" y="171440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75">
            <a:extLst>
              <a:ext uri="{FF2B5EF4-FFF2-40B4-BE49-F238E27FC236}">
                <a16:creationId xmlns:a16="http://schemas.microsoft.com/office/drawing/2014/main" id="{A677B47C-279E-34C6-CA11-9C0A4D1E9BBB}"/>
              </a:ext>
            </a:extLst>
          </p:cNvPr>
          <p:cNvCxnSpPr>
            <a:cxnSpLocks/>
          </p:cNvCxnSpPr>
          <p:nvPr userDrawn="1"/>
        </p:nvCxnSpPr>
        <p:spPr>
          <a:xfrm>
            <a:off x="478800" y="622748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76">
            <a:extLst>
              <a:ext uri="{FF2B5EF4-FFF2-40B4-BE49-F238E27FC236}">
                <a16:creationId xmlns:a16="http://schemas.microsoft.com/office/drawing/2014/main" id="{9942370D-349D-6654-E03F-DACCA1146F4A}"/>
              </a:ext>
            </a:extLst>
          </p:cNvPr>
          <p:cNvCxnSpPr>
            <a:cxnSpLocks/>
          </p:cNvCxnSpPr>
          <p:nvPr userDrawn="1"/>
        </p:nvCxnSpPr>
        <p:spPr>
          <a:xfrm>
            <a:off x="478800" y="637006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13D47A0C-CCFC-13C2-E381-9DD99A1D3A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9505" y="1938040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67E8F10F-2EFF-7F88-C1A3-124B136348F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99505" y="2675923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62" name="Textplatzhalter 8">
            <a:extLst>
              <a:ext uri="{FF2B5EF4-FFF2-40B4-BE49-F238E27FC236}">
                <a16:creationId xmlns:a16="http://schemas.microsoft.com/office/drawing/2014/main" id="{108C260D-4E48-6C99-0114-858537CDFE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9505" y="5627454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63" name="Textplatzhalter 8">
            <a:extLst>
              <a:ext uri="{FF2B5EF4-FFF2-40B4-BE49-F238E27FC236}">
                <a16:creationId xmlns:a16="http://schemas.microsoft.com/office/drawing/2014/main" id="{DAAEA888-935A-E5B1-EE8A-69EEEF60BBF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99505" y="3413806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64" name="Textplatzhalter 8">
            <a:extLst>
              <a:ext uri="{FF2B5EF4-FFF2-40B4-BE49-F238E27FC236}">
                <a16:creationId xmlns:a16="http://schemas.microsoft.com/office/drawing/2014/main" id="{3EA537A4-7DCF-198D-C96D-CA34D6E1C19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99505" y="4151689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65" name="Textplatzhalter 8">
            <a:extLst>
              <a:ext uri="{FF2B5EF4-FFF2-40B4-BE49-F238E27FC236}">
                <a16:creationId xmlns:a16="http://schemas.microsoft.com/office/drawing/2014/main" id="{0CE8FF73-8541-E49E-E067-9481DD56E38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99505" y="4889572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2335708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Grafik 60" descr="Ein Bild, das Kleidung, Person, Gebäude, Mann enthält.&#10;&#10;Automatisch generierte Beschreibung">
            <a:extLst>
              <a:ext uri="{FF2B5EF4-FFF2-40B4-BE49-F238E27FC236}">
                <a16:creationId xmlns:a16="http://schemas.microsoft.com/office/drawing/2014/main" id="{F8D94991-621D-1918-1F3C-E09749868A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" name="Textplatzhalter 22">
            <a:extLst>
              <a:ext uri="{FF2B5EF4-FFF2-40B4-BE49-F238E27FC236}">
                <a16:creationId xmlns:a16="http://schemas.microsoft.com/office/drawing/2014/main" id="{4FD97F01-8991-8476-52EA-1023CB8F9A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00000" y="194357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4" name="Textplatzhalter 22">
            <a:extLst>
              <a:ext uri="{FF2B5EF4-FFF2-40B4-BE49-F238E27FC236}">
                <a16:creationId xmlns:a16="http://schemas.microsoft.com/office/drawing/2014/main" id="{5EFD14C4-45EE-5504-7E94-52BF73C169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000" y="2681324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5" name="Textplatzhalter 22">
            <a:extLst>
              <a:ext uri="{FF2B5EF4-FFF2-40B4-BE49-F238E27FC236}">
                <a16:creationId xmlns:a16="http://schemas.microsoft.com/office/drawing/2014/main" id="{BA34C179-8D2F-19E1-475E-5262BE7848B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0000" y="341907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AEE2AFB2-B973-3AA3-9FB0-534A5975DB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00000" y="4156820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82C7778B-3773-E643-B5AF-2CAC47EA2BE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00000" y="4894568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76C4961A-A220-29F5-5B2D-B56E0D2447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000" y="563231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cxnSp>
        <p:nvCxnSpPr>
          <p:cNvPr id="12" name="Gerade Verbindung 10">
            <a:extLst>
              <a:ext uri="{FF2B5EF4-FFF2-40B4-BE49-F238E27FC236}">
                <a16:creationId xmlns:a16="http://schemas.microsoft.com/office/drawing/2014/main" id="{048E41A8-056B-67A3-AE3B-70BB8DC62585}"/>
              </a:ext>
            </a:extLst>
          </p:cNvPr>
          <p:cNvCxnSpPr>
            <a:cxnSpLocks/>
          </p:cNvCxnSpPr>
          <p:nvPr userDrawn="1"/>
        </p:nvCxnSpPr>
        <p:spPr>
          <a:xfrm>
            <a:off x="479425" y="185999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1">
            <a:extLst>
              <a:ext uri="{FF2B5EF4-FFF2-40B4-BE49-F238E27FC236}">
                <a16:creationId xmlns:a16="http://schemas.microsoft.com/office/drawing/2014/main" id="{77D9B00D-39CF-9D4A-182E-A6473C7D2A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00557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CABB9250-D0AF-BD5F-5D37-D25CBD23DCD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15115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8">
            <a:extLst>
              <a:ext uri="{FF2B5EF4-FFF2-40B4-BE49-F238E27FC236}">
                <a16:creationId xmlns:a16="http://schemas.microsoft.com/office/drawing/2014/main" id="{72BD2FC9-0253-0AA2-BF95-B8DA338BC4AD}"/>
              </a:ext>
            </a:extLst>
          </p:cNvPr>
          <p:cNvCxnSpPr>
            <a:cxnSpLocks/>
          </p:cNvCxnSpPr>
          <p:nvPr userDrawn="1"/>
        </p:nvCxnSpPr>
        <p:spPr>
          <a:xfrm>
            <a:off x="479425" y="229674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9">
            <a:extLst>
              <a:ext uri="{FF2B5EF4-FFF2-40B4-BE49-F238E27FC236}">
                <a16:creationId xmlns:a16="http://schemas.microsoft.com/office/drawing/2014/main" id="{D49B95D5-FF21-FAFA-D409-3C5271929EFC}"/>
              </a:ext>
            </a:extLst>
          </p:cNvPr>
          <p:cNvCxnSpPr>
            <a:cxnSpLocks/>
          </p:cNvCxnSpPr>
          <p:nvPr userDrawn="1"/>
        </p:nvCxnSpPr>
        <p:spPr>
          <a:xfrm>
            <a:off x="479425" y="244232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40">
            <a:extLst>
              <a:ext uri="{FF2B5EF4-FFF2-40B4-BE49-F238E27FC236}">
                <a16:creationId xmlns:a16="http://schemas.microsoft.com/office/drawing/2014/main" id="{5A485468-CBE1-84E6-8A8D-5E8237F905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58790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49">
            <a:extLst>
              <a:ext uri="{FF2B5EF4-FFF2-40B4-BE49-F238E27FC236}">
                <a16:creationId xmlns:a16="http://schemas.microsoft.com/office/drawing/2014/main" id="{AE9007DE-4214-02C7-D515-77E6FB6C5B66}"/>
              </a:ext>
            </a:extLst>
          </p:cNvPr>
          <p:cNvCxnSpPr>
            <a:cxnSpLocks/>
          </p:cNvCxnSpPr>
          <p:nvPr userDrawn="1"/>
        </p:nvCxnSpPr>
        <p:spPr>
          <a:xfrm>
            <a:off x="479425" y="273349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50">
            <a:extLst>
              <a:ext uri="{FF2B5EF4-FFF2-40B4-BE49-F238E27FC236}">
                <a16:creationId xmlns:a16="http://schemas.microsoft.com/office/drawing/2014/main" id="{74E8E4F5-5014-A425-B458-F517F1C1EFE2}"/>
              </a:ext>
            </a:extLst>
          </p:cNvPr>
          <p:cNvCxnSpPr>
            <a:cxnSpLocks/>
          </p:cNvCxnSpPr>
          <p:nvPr userDrawn="1"/>
        </p:nvCxnSpPr>
        <p:spPr>
          <a:xfrm>
            <a:off x="479425" y="287907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1">
            <a:extLst>
              <a:ext uri="{FF2B5EF4-FFF2-40B4-BE49-F238E27FC236}">
                <a16:creationId xmlns:a16="http://schemas.microsoft.com/office/drawing/2014/main" id="{8FB24DBD-9934-733D-55CC-BB44884C4BFE}"/>
              </a:ext>
            </a:extLst>
          </p:cNvPr>
          <p:cNvCxnSpPr>
            <a:cxnSpLocks/>
          </p:cNvCxnSpPr>
          <p:nvPr userDrawn="1"/>
        </p:nvCxnSpPr>
        <p:spPr>
          <a:xfrm>
            <a:off x="479425" y="302465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52">
            <a:extLst>
              <a:ext uri="{FF2B5EF4-FFF2-40B4-BE49-F238E27FC236}">
                <a16:creationId xmlns:a16="http://schemas.microsoft.com/office/drawing/2014/main" id="{4C1F7AD6-D025-9F37-A0D9-46328705671C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7023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53">
            <a:extLst>
              <a:ext uri="{FF2B5EF4-FFF2-40B4-BE49-F238E27FC236}">
                <a16:creationId xmlns:a16="http://schemas.microsoft.com/office/drawing/2014/main" id="{FB8F5AD9-C12B-0E20-5037-C53B5B29F200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1582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54">
            <a:extLst>
              <a:ext uri="{FF2B5EF4-FFF2-40B4-BE49-F238E27FC236}">
                <a16:creationId xmlns:a16="http://schemas.microsoft.com/office/drawing/2014/main" id="{7F4C6D23-6798-1A39-BDC5-E2C5AAB5624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6140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55">
            <a:extLst>
              <a:ext uri="{FF2B5EF4-FFF2-40B4-BE49-F238E27FC236}">
                <a16:creationId xmlns:a16="http://schemas.microsoft.com/office/drawing/2014/main" id="{53406A94-7EAD-AC7E-58ED-59491933FEC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0698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56">
            <a:extLst>
              <a:ext uri="{FF2B5EF4-FFF2-40B4-BE49-F238E27FC236}">
                <a16:creationId xmlns:a16="http://schemas.microsoft.com/office/drawing/2014/main" id="{ACF9E571-5ACF-A0C7-497F-5CEAE2BECAA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75257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57">
            <a:extLst>
              <a:ext uri="{FF2B5EF4-FFF2-40B4-BE49-F238E27FC236}">
                <a16:creationId xmlns:a16="http://schemas.microsoft.com/office/drawing/2014/main" id="{2FD4EC0C-6E49-FBEC-A9F3-F35393013C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89815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58">
            <a:extLst>
              <a:ext uri="{FF2B5EF4-FFF2-40B4-BE49-F238E27FC236}">
                <a16:creationId xmlns:a16="http://schemas.microsoft.com/office/drawing/2014/main" id="{5A35BD7A-D2B0-6427-557E-C8543912D9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04373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59">
            <a:extLst>
              <a:ext uri="{FF2B5EF4-FFF2-40B4-BE49-F238E27FC236}">
                <a16:creationId xmlns:a16="http://schemas.microsoft.com/office/drawing/2014/main" id="{5723F194-1201-A41F-ACD9-6926DB727F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18932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60">
            <a:extLst>
              <a:ext uri="{FF2B5EF4-FFF2-40B4-BE49-F238E27FC236}">
                <a16:creationId xmlns:a16="http://schemas.microsoft.com/office/drawing/2014/main" id="{B0906E4E-4BEA-0A4E-73ED-A62C5F9EAAB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33490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61">
            <a:extLst>
              <a:ext uri="{FF2B5EF4-FFF2-40B4-BE49-F238E27FC236}">
                <a16:creationId xmlns:a16="http://schemas.microsoft.com/office/drawing/2014/main" id="{9DFBC9B9-7688-3627-3709-BFC198DB0B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48048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62">
            <a:extLst>
              <a:ext uri="{FF2B5EF4-FFF2-40B4-BE49-F238E27FC236}">
                <a16:creationId xmlns:a16="http://schemas.microsoft.com/office/drawing/2014/main" id="{3EE9DFA6-6FCE-E187-C091-AA009C683A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62606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67">
            <a:extLst>
              <a:ext uri="{FF2B5EF4-FFF2-40B4-BE49-F238E27FC236}">
                <a16:creationId xmlns:a16="http://schemas.microsoft.com/office/drawing/2014/main" id="{169D446B-197B-E8E4-C4B8-6B9270531177}"/>
              </a:ext>
            </a:extLst>
          </p:cNvPr>
          <p:cNvCxnSpPr>
            <a:cxnSpLocks/>
          </p:cNvCxnSpPr>
          <p:nvPr userDrawn="1"/>
        </p:nvCxnSpPr>
        <p:spPr>
          <a:xfrm>
            <a:off x="479425" y="477165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8">
            <a:extLst>
              <a:ext uri="{FF2B5EF4-FFF2-40B4-BE49-F238E27FC236}">
                <a16:creationId xmlns:a16="http://schemas.microsoft.com/office/drawing/2014/main" id="{6E0B7851-F7B8-B03C-5C36-A930577B1990}"/>
              </a:ext>
            </a:extLst>
          </p:cNvPr>
          <p:cNvCxnSpPr>
            <a:cxnSpLocks/>
          </p:cNvCxnSpPr>
          <p:nvPr userDrawn="1"/>
        </p:nvCxnSpPr>
        <p:spPr>
          <a:xfrm>
            <a:off x="479425" y="491723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69">
            <a:extLst>
              <a:ext uri="{FF2B5EF4-FFF2-40B4-BE49-F238E27FC236}">
                <a16:creationId xmlns:a16="http://schemas.microsoft.com/office/drawing/2014/main" id="{0C8E6F93-2B36-5905-602F-AD78AE860C9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06281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70">
            <a:extLst>
              <a:ext uri="{FF2B5EF4-FFF2-40B4-BE49-F238E27FC236}">
                <a16:creationId xmlns:a16="http://schemas.microsoft.com/office/drawing/2014/main" id="{37529014-D070-0403-0AE3-F5B48030A0E4}"/>
              </a:ext>
            </a:extLst>
          </p:cNvPr>
          <p:cNvCxnSpPr>
            <a:cxnSpLocks/>
          </p:cNvCxnSpPr>
          <p:nvPr userDrawn="1"/>
        </p:nvCxnSpPr>
        <p:spPr>
          <a:xfrm>
            <a:off x="479425" y="520840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71">
            <a:extLst>
              <a:ext uri="{FF2B5EF4-FFF2-40B4-BE49-F238E27FC236}">
                <a16:creationId xmlns:a16="http://schemas.microsoft.com/office/drawing/2014/main" id="{06302699-CCAD-14A4-F629-AB01351BB940}"/>
              </a:ext>
            </a:extLst>
          </p:cNvPr>
          <p:cNvCxnSpPr>
            <a:cxnSpLocks/>
          </p:cNvCxnSpPr>
          <p:nvPr userDrawn="1"/>
        </p:nvCxnSpPr>
        <p:spPr>
          <a:xfrm>
            <a:off x="479425" y="535398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72">
            <a:extLst>
              <a:ext uri="{FF2B5EF4-FFF2-40B4-BE49-F238E27FC236}">
                <a16:creationId xmlns:a16="http://schemas.microsoft.com/office/drawing/2014/main" id="{955332B1-5AAE-C76A-F8B3-FF82D585B82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49956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73">
            <a:extLst>
              <a:ext uri="{FF2B5EF4-FFF2-40B4-BE49-F238E27FC236}">
                <a16:creationId xmlns:a16="http://schemas.microsoft.com/office/drawing/2014/main" id="{B81807EF-C0CF-37C3-FF37-68E3262AA91D}"/>
              </a:ext>
            </a:extLst>
          </p:cNvPr>
          <p:cNvCxnSpPr>
            <a:cxnSpLocks/>
          </p:cNvCxnSpPr>
          <p:nvPr userDrawn="1"/>
        </p:nvCxnSpPr>
        <p:spPr>
          <a:xfrm>
            <a:off x="479425" y="564515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74">
            <a:extLst>
              <a:ext uri="{FF2B5EF4-FFF2-40B4-BE49-F238E27FC236}">
                <a16:creationId xmlns:a16="http://schemas.microsoft.com/office/drawing/2014/main" id="{C2B1CA07-82B7-94E6-D504-8652592BC77B}"/>
              </a:ext>
            </a:extLst>
          </p:cNvPr>
          <p:cNvCxnSpPr>
            <a:cxnSpLocks/>
          </p:cNvCxnSpPr>
          <p:nvPr userDrawn="1"/>
        </p:nvCxnSpPr>
        <p:spPr>
          <a:xfrm>
            <a:off x="479425" y="579073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75">
            <a:extLst>
              <a:ext uri="{FF2B5EF4-FFF2-40B4-BE49-F238E27FC236}">
                <a16:creationId xmlns:a16="http://schemas.microsoft.com/office/drawing/2014/main" id="{E20FEDB6-1966-6896-4E59-7421D7E04F0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93631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76">
            <a:extLst>
              <a:ext uri="{FF2B5EF4-FFF2-40B4-BE49-F238E27FC236}">
                <a16:creationId xmlns:a16="http://schemas.microsoft.com/office/drawing/2014/main" id="{DEA6FB98-3799-B5ED-E790-548FC83FCE1E}"/>
              </a:ext>
            </a:extLst>
          </p:cNvPr>
          <p:cNvCxnSpPr>
            <a:cxnSpLocks/>
          </p:cNvCxnSpPr>
          <p:nvPr userDrawn="1"/>
        </p:nvCxnSpPr>
        <p:spPr>
          <a:xfrm>
            <a:off x="479425" y="608189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10">
            <a:extLst>
              <a:ext uri="{FF2B5EF4-FFF2-40B4-BE49-F238E27FC236}">
                <a16:creationId xmlns:a16="http://schemas.microsoft.com/office/drawing/2014/main" id="{A967CE3D-3AB3-D1E8-4F7B-443EDC39D03A}"/>
              </a:ext>
            </a:extLst>
          </p:cNvPr>
          <p:cNvCxnSpPr>
            <a:cxnSpLocks/>
          </p:cNvCxnSpPr>
          <p:nvPr userDrawn="1"/>
        </p:nvCxnSpPr>
        <p:spPr>
          <a:xfrm>
            <a:off x="478800" y="156582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11">
            <a:extLst>
              <a:ext uri="{FF2B5EF4-FFF2-40B4-BE49-F238E27FC236}">
                <a16:creationId xmlns:a16="http://schemas.microsoft.com/office/drawing/2014/main" id="{D6D4AFB2-BF56-8827-9501-E6E73DE1D508}"/>
              </a:ext>
            </a:extLst>
          </p:cNvPr>
          <p:cNvCxnSpPr>
            <a:cxnSpLocks/>
          </p:cNvCxnSpPr>
          <p:nvPr userDrawn="1"/>
        </p:nvCxnSpPr>
        <p:spPr>
          <a:xfrm>
            <a:off x="478800" y="171440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75">
            <a:extLst>
              <a:ext uri="{FF2B5EF4-FFF2-40B4-BE49-F238E27FC236}">
                <a16:creationId xmlns:a16="http://schemas.microsoft.com/office/drawing/2014/main" id="{A677B47C-279E-34C6-CA11-9C0A4D1E9BBB}"/>
              </a:ext>
            </a:extLst>
          </p:cNvPr>
          <p:cNvCxnSpPr>
            <a:cxnSpLocks/>
          </p:cNvCxnSpPr>
          <p:nvPr userDrawn="1"/>
        </p:nvCxnSpPr>
        <p:spPr>
          <a:xfrm>
            <a:off x="478800" y="622748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76">
            <a:extLst>
              <a:ext uri="{FF2B5EF4-FFF2-40B4-BE49-F238E27FC236}">
                <a16:creationId xmlns:a16="http://schemas.microsoft.com/office/drawing/2014/main" id="{9942370D-349D-6654-E03F-DACCA1146F4A}"/>
              </a:ext>
            </a:extLst>
          </p:cNvPr>
          <p:cNvCxnSpPr>
            <a:cxnSpLocks/>
          </p:cNvCxnSpPr>
          <p:nvPr userDrawn="1"/>
        </p:nvCxnSpPr>
        <p:spPr>
          <a:xfrm>
            <a:off x="478800" y="637006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E8BCD61A-60CA-E778-8FAF-D84C70AC0469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3" name="Freihandform: Form 7">
              <a:extLst>
                <a:ext uri="{FF2B5EF4-FFF2-40B4-BE49-F238E27FC236}">
                  <a16:creationId xmlns:a16="http://schemas.microsoft.com/office/drawing/2014/main" id="{5CEBBD40-7D4F-BBE2-9520-8DCB1C62183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ihandform: Form 8">
              <a:extLst>
                <a:ext uri="{FF2B5EF4-FFF2-40B4-BE49-F238E27FC236}">
                  <a16:creationId xmlns:a16="http://schemas.microsoft.com/office/drawing/2014/main" id="{84E06951-BDC1-7169-A1B1-A8C52C39513D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ihandform: Form 9">
              <a:extLst>
                <a:ext uri="{FF2B5EF4-FFF2-40B4-BE49-F238E27FC236}">
                  <a16:creationId xmlns:a16="http://schemas.microsoft.com/office/drawing/2014/main" id="{B113BD63-0DCF-81D7-2EAA-04FCD5B9B48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ihandform: Form 10">
              <a:extLst>
                <a:ext uri="{FF2B5EF4-FFF2-40B4-BE49-F238E27FC236}">
                  <a16:creationId xmlns:a16="http://schemas.microsoft.com/office/drawing/2014/main" id="{74A0185C-7545-2884-AFBC-160292078BE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ihandform: Form 11">
              <a:extLst>
                <a:ext uri="{FF2B5EF4-FFF2-40B4-BE49-F238E27FC236}">
                  <a16:creationId xmlns:a16="http://schemas.microsoft.com/office/drawing/2014/main" id="{3A15687B-F925-2EC5-A5B7-BA2320237F8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ihandform: Form 12">
              <a:extLst>
                <a:ext uri="{FF2B5EF4-FFF2-40B4-BE49-F238E27FC236}">
                  <a16:creationId xmlns:a16="http://schemas.microsoft.com/office/drawing/2014/main" id="{470881D5-51DF-7717-4AA3-64AD818624D7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ihandform: Form 13">
              <a:extLst>
                <a:ext uri="{FF2B5EF4-FFF2-40B4-BE49-F238E27FC236}">
                  <a16:creationId xmlns:a16="http://schemas.microsoft.com/office/drawing/2014/main" id="{CA5F1405-18A5-1DC9-39FC-857C0BAFD184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AB262DF5-D896-82D8-BB53-D57978121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9505" y="1938040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5" name="Textplatzhalter 8">
            <a:extLst>
              <a:ext uri="{FF2B5EF4-FFF2-40B4-BE49-F238E27FC236}">
                <a16:creationId xmlns:a16="http://schemas.microsoft.com/office/drawing/2014/main" id="{9F460655-3E59-DA38-D092-721C0927E9A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99505" y="2675923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B6D8C916-CC36-7D82-EC89-15E46C6C457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9505" y="5627454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D344A0D8-D357-7CC1-36A1-CEFCE6B60C0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99505" y="3413806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70" name="Textplatzhalter 8">
            <a:extLst>
              <a:ext uri="{FF2B5EF4-FFF2-40B4-BE49-F238E27FC236}">
                <a16:creationId xmlns:a16="http://schemas.microsoft.com/office/drawing/2014/main" id="{3CFA1BC3-5206-D14B-47C3-A4F9B5000CE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99505" y="4151689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71" name="Textplatzhalter 8">
            <a:extLst>
              <a:ext uri="{FF2B5EF4-FFF2-40B4-BE49-F238E27FC236}">
                <a16:creationId xmlns:a16="http://schemas.microsoft.com/office/drawing/2014/main" id="{23A837E2-8F20-7805-91CF-1950FB51A7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99505" y="4889572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4058817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w Number + Pi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06333"/>
            <a:ext cx="7512175" cy="1231106"/>
          </a:xfrm>
        </p:spPr>
        <p:txBody>
          <a:bodyPr anchor="ctr">
            <a:spAutoFit/>
          </a:bodyPr>
          <a:lstStyle>
            <a:lvl1pPr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8332C8F3-37AD-6B6E-B15D-031AB9B625B2}"/>
              </a:ext>
            </a:extLst>
          </p:cNvPr>
          <p:cNvCxnSpPr>
            <a:cxnSpLocks/>
          </p:cNvCxnSpPr>
          <p:nvPr userDrawn="1"/>
        </p:nvCxnSpPr>
        <p:spPr>
          <a:xfrm>
            <a:off x="467736" y="-272132"/>
            <a:ext cx="803852" cy="0"/>
          </a:xfrm>
          <a:prstGeom prst="line">
            <a:avLst/>
          </a:prstGeom>
          <a:ln w="25400">
            <a:solidFill>
              <a:srgbClr val="7DA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0337" y="2529000"/>
            <a:ext cx="2493635" cy="1800000"/>
          </a:xfr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CF20C85-2441-1FD1-83FE-FB1FBFB066D2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  <a:solidFill>
            <a:schemeClr val="tx1"/>
          </a:solidFill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81DC2E73-A28D-0E2B-F203-2CB62182DFF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8">
              <a:extLst>
                <a:ext uri="{FF2B5EF4-FFF2-40B4-BE49-F238E27FC236}">
                  <a16:creationId xmlns:a16="http://schemas.microsoft.com/office/drawing/2014/main" id="{733E030C-E54F-784D-FFA0-33A2DD85B4F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ADF0EEE4-1FC2-78EE-E8F8-F47CEE01EE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A50A77EC-E3FF-61E6-6A7A-1BBE25E1A358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BCE7890E-1454-7834-CD7C-5BE5B02D8E7F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D2144563-7F9B-CE7E-B54A-4EC94854CCA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3">
              <a:extLst>
                <a:ext uri="{FF2B5EF4-FFF2-40B4-BE49-F238E27FC236}">
                  <a16:creationId xmlns:a16="http://schemas.microsoft.com/office/drawing/2014/main" id="{90BE8E15-3CDC-9CFF-764E-0083B4F7352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870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  <p15:guide id="10" pos="89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 Number + Pi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Person, Kleidung, Himmel, Mann enthält.&#10;&#10;Automatisch generierte Beschreibung">
            <a:extLst>
              <a:ext uri="{FF2B5EF4-FFF2-40B4-BE49-F238E27FC236}">
                <a16:creationId xmlns:a16="http://schemas.microsoft.com/office/drawing/2014/main" id="{C01CA1D9-83DF-0949-BC04-F3216F2529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200"/>
            <a:ext cx="12192000" cy="6862198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06333"/>
            <a:ext cx="7512175" cy="1231106"/>
          </a:xfrm>
        </p:spPr>
        <p:txBody>
          <a:bodyPr anchor="ctr">
            <a:spAutoFit/>
          </a:bodyPr>
          <a:lstStyle>
            <a:lvl1pPr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8332C8F3-37AD-6B6E-B15D-031AB9B625B2}"/>
              </a:ext>
            </a:extLst>
          </p:cNvPr>
          <p:cNvCxnSpPr>
            <a:cxnSpLocks/>
          </p:cNvCxnSpPr>
          <p:nvPr userDrawn="1"/>
        </p:nvCxnSpPr>
        <p:spPr>
          <a:xfrm>
            <a:off x="467736" y="-272132"/>
            <a:ext cx="803852" cy="0"/>
          </a:xfrm>
          <a:prstGeom prst="line">
            <a:avLst/>
          </a:prstGeom>
          <a:ln w="25400">
            <a:solidFill>
              <a:srgbClr val="7DA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0337" y="2529000"/>
            <a:ext cx="2493635" cy="1800000"/>
          </a:xfr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CF20C85-2441-1FD1-83FE-FB1FBFB066D2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81DC2E73-A28D-0E2B-F203-2CB62182DFF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8">
              <a:extLst>
                <a:ext uri="{FF2B5EF4-FFF2-40B4-BE49-F238E27FC236}">
                  <a16:creationId xmlns:a16="http://schemas.microsoft.com/office/drawing/2014/main" id="{733E030C-E54F-784D-FFA0-33A2DD85B4F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ADF0EEE4-1FC2-78EE-E8F8-F47CEE01EE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A50A77EC-E3FF-61E6-6A7A-1BBE25E1A358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BCE7890E-1454-7834-CD7C-5BE5B02D8E7F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D2144563-7F9B-CE7E-B54A-4EC94854CCA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3">
              <a:extLst>
                <a:ext uri="{FF2B5EF4-FFF2-40B4-BE49-F238E27FC236}">
                  <a16:creationId xmlns:a16="http://schemas.microsoft.com/office/drawing/2014/main" id="{90BE8E15-3CDC-9CFF-764E-0083B4F7352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48986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  <p15:guide id="10" pos="8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chemeClr val="tx1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  <a:solidFill>
            <a:schemeClr val="tx1"/>
          </a:solidFill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84854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798F28A0-F5CE-7F81-9A86-23C702A9AE76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39" name="Freihandform: Form 7">
              <a:extLst>
                <a:ext uri="{FF2B5EF4-FFF2-40B4-BE49-F238E27FC236}">
                  <a16:creationId xmlns:a16="http://schemas.microsoft.com/office/drawing/2014/main" id="{E837E4E4-8534-0AEB-4AD3-51D31B6DB4E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0" name="Freihandform: Form 8">
              <a:extLst>
                <a:ext uri="{FF2B5EF4-FFF2-40B4-BE49-F238E27FC236}">
                  <a16:creationId xmlns:a16="http://schemas.microsoft.com/office/drawing/2014/main" id="{2130741B-FF6C-4041-D77B-BD8A63816E4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1" name="Freihandform: Form 9">
              <a:extLst>
                <a:ext uri="{FF2B5EF4-FFF2-40B4-BE49-F238E27FC236}">
                  <a16:creationId xmlns:a16="http://schemas.microsoft.com/office/drawing/2014/main" id="{A216FC4C-7124-AE7E-B613-60F6CD8BB16C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2" name="Freihandform: Form 10">
              <a:extLst>
                <a:ext uri="{FF2B5EF4-FFF2-40B4-BE49-F238E27FC236}">
                  <a16:creationId xmlns:a16="http://schemas.microsoft.com/office/drawing/2014/main" id="{4F84DB8F-B135-FCE1-AA11-D212E1D8DC47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3" name="Freihandform: Form 11">
              <a:extLst>
                <a:ext uri="{FF2B5EF4-FFF2-40B4-BE49-F238E27FC236}">
                  <a16:creationId xmlns:a16="http://schemas.microsoft.com/office/drawing/2014/main" id="{9CB787C1-990A-8593-3314-C71F3A3040E5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4" name="Freihandform: Form 12">
              <a:extLst>
                <a:ext uri="{FF2B5EF4-FFF2-40B4-BE49-F238E27FC236}">
                  <a16:creationId xmlns:a16="http://schemas.microsoft.com/office/drawing/2014/main" id="{3BC5B3F7-F686-D899-4E51-A1D55851E416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45" name="Freihandform: Form 13">
              <a:extLst>
                <a:ext uri="{FF2B5EF4-FFF2-40B4-BE49-F238E27FC236}">
                  <a16:creationId xmlns:a16="http://schemas.microsoft.com/office/drawing/2014/main" id="{088378B8-A284-0C3F-F791-09E8509C291A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7633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Pictur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Schwarzweiß, monochrom, monochrome Fotografie, Schild enthält.&#10;&#10;Automatisch generierte Beschreibung">
            <a:extLst>
              <a:ext uri="{FF2B5EF4-FFF2-40B4-BE49-F238E27FC236}">
                <a16:creationId xmlns:a16="http://schemas.microsoft.com/office/drawing/2014/main" id="{2D68E061-2E16-5B27-E16E-733B5BD665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B5BA48-4454-7A0D-6DFB-3E6FCD2CEC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6" y="6188074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400" b="0" i="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fld id="{839F1E32-B95E-EF4D-87DF-C15F9AC4160D}" type="datetime4">
              <a:rPr lang="de-DE" smtClean="0"/>
              <a:t>20. Juli 2023</a:t>
            </a:fld>
            <a:r>
              <a:rPr lang="de-DE"/>
              <a:t> - SENACOR TECHNOLOGIES A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55B362C6-4BE1-4F9E-45D3-6FDD278DEB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618086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800" b="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r>
              <a:rPr lang="de-DE"/>
              <a:t>Autor oder Unt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30F8B86-4730-D72D-10A3-7F0D936BB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64125"/>
            <a:ext cx="11233149" cy="492443"/>
          </a:xfrm>
        </p:spPr>
        <p:txBody>
          <a:bodyPr/>
          <a:lstStyle>
            <a:lvl1pPr algn="l"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3307714-6AE3-C649-A88C-B1E0A00E7E91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" name="Freihandform: Form 7">
              <a:extLst>
                <a:ext uri="{FF2B5EF4-FFF2-40B4-BE49-F238E27FC236}">
                  <a16:creationId xmlns:a16="http://schemas.microsoft.com/office/drawing/2014/main" id="{5CD0350E-1B4B-93C5-4042-6D7DD1480FD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7" name="Freihandform: Form 8">
              <a:extLst>
                <a:ext uri="{FF2B5EF4-FFF2-40B4-BE49-F238E27FC236}">
                  <a16:creationId xmlns:a16="http://schemas.microsoft.com/office/drawing/2014/main" id="{572C2126-4CA4-8173-7328-15F408CFAA6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8" name="Freihandform: Form 9">
              <a:extLst>
                <a:ext uri="{FF2B5EF4-FFF2-40B4-BE49-F238E27FC236}">
                  <a16:creationId xmlns:a16="http://schemas.microsoft.com/office/drawing/2014/main" id="{6BF00576-4CC5-D53B-E741-361ECBFE81C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F4B419BC-DDB3-61FE-AF01-6B26F9531D8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A640000B-04B7-F422-4771-FF1C595C752C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6A18C08D-4905-EB9A-3B0B-2BFEE313EE8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19F995E3-9E0F-CB57-7890-33D13EEA470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7357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B4F41F0-EEB0-AA9B-C28E-3D8D38A07A2D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23" name="Freihandform: Form 7">
              <a:extLst>
                <a:ext uri="{FF2B5EF4-FFF2-40B4-BE49-F238E27FC236}">
                  <a16:creationId xmlns:a16="http://schemas.microsoft.com/office/drawing/2014/main" id="{54EBE668-5973-846D-A77A-428B5E7D3A39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4" name="Freihandform: Form 8">
              <a:extLst>
                <a:ext uri="{FF2B5EF4-FFF2-40B4-BE49-F238E27FC236}">
                  <a16:creationId xmlns:a16="http://schemas.microsoft.com/office/drawing/2014/main" id="{23FAC38C-E669-0DB9-153F-36AB7943C40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5" name="Freihandform: Form 9">
              <a:extLst>
                <a:ext uri="{FF2B5EF4-FFF2-40B4-BE49-F238E27FC236}">
                  <a16:creationId xmlns:a16="http://schemas.microsoft.com/office/drawing/2014/main" id="{52A88C9F-188C-750B-D06B-BE56F405F14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6" name="Freihandform: Form 10">
              <a:extLst>
                <a:ext uri="{FF2B5EF4-FFF2-40B4-BE49-F238E27FC236}">
                  <a16:creationId xmlns:a16="http://schemas.microsoft.com/office/drawing/2014/main" id="{D5578205-B925-7FF2-4E0B-095A82049DB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7" name="Freihandform: Form 11">
              <a:extLst>
                <a:ext uri="{FF2B5EF4-FFF2-40B4-BE49-F238E27FC236}">
                  <a16:creationId xmlns:a16="http://schemas.microsoft.com/office/drawing/2014/main" id="{EDE2F598-5C9E-496B-4529-059674AD66A4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8" name="Freihandform: Form 12">
              <a:extLst>
                <a:ext uri="{FF2B5EF4-FFF2-40B4-BE49-F238E27FC236}">
                  <a16:creationId xmlns:a16="http://schemas.microsoft.com/office/drawing/2014/main" id="{58AC79AD-F66A-14F6-0B2C-E651F73B018E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9" name="Freihandform: Form 13">
              <a:extLst>
                <a:ext uri="{FF2B5EF4-FFF2-40B4-BE49-F238E27FC236}">
                  <a16:creationId xmlns:a16="http://schemas.microsoft.com/office/drawing/2014/main" id="{3492E4C7-1724-51DF-41E4-A5DFCD2CE07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7019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6845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382B33DE-28B0-2DFB-36EC-3CE7981604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8799" y="2578825"/>
            <a:ext cx="1790386" cy="218586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de-DE" cap="all" baseline="0" dirty="0">
                <a:solidFill>
                  <a:srgbClr val="7192C7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de-DE" err="1"/>
              <a:t>kunde</a:t>
            </a:r>
            <a:endParaRPr lang="de-DE"/>
          </a:p>
        </p:txBody>
      </p:sp>
      <p:sp>
        <p:nvSpPr>
          <p:cNvPr id="7" name="Textplatzhalter 22">
            <a:extLst>
              <a:ext uri="{FF2B5EF4-FFF2-40B4-BE49-F238E27FC236}">
                <a16:creationId xmlns:a16="http://schemas.microsoft.com/office/drawing/2014/main" id="{0FFD150C-8DA6-73ED-930A-C293DFDCF4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88475" y="2578825"/>
            <a:ext cx="1790386" cy="218586"/>
          </a:xfr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>
              <a:defRPr lang="de-DE" cap="all" baseline="0">
                <a:solidFill>
                  <a:srgbClr val="7192C7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de-DE"/>
              <a:t>ERFOLGE</a:t>
            </a:r>
          </a:p>
        </p:txBody>
      </p:sp>
      <p:sp>
        <p:nvSpPr>
          <p:cNvPr id="8" name="Textplatzhalter 22">
            <a:extLst>
              <a:ext uri="{FF2B5EF4-FFF2-40B4-BE49-F238E27FC236}">
                <a16:creationId xmlns:a16="http://schemas.microsoft.com/office/drawing/2014/main" id="{1A0DF424-5224-333B-D7ED-012341F2A83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07432" y="2578825"/>
            <a:ext cx="1790386" cy="218586"/>
          </a:xfr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>
              <a:defRPr lang="de-DE" cap="all" baseline="0" dirty="0">
                <a:solidFill>
                  <a:srgbClr val="7192C7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de-DE"/>
              <a:t>UNSERE ROLLE</a:t>
            </a:r>
          </a:p>
        </p:txBody>
      </p:sp>
      <p:sp>
        <p:nvSpPr>
          <p:cNvPr id="33" name="Inhaltsplatzhalter 4">
            <a:extLst>
              <a:ext uri="{FF2B5EF4-FFF2-40B4-BE49-F238E27FC236}">
                <a16:creationId xmlns:a16="http://schemas.microsoft.com/office/drawing/2014/main" id="{4DD85D04-D91D-8446-6B78-86239A4E549E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479425" y="2964922"/>
            <a:ext cx="5090092" cy="317307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rgbClr val="7192C7"/>
              </a:buClr>
              <a:defRPr sz="7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8"/>
            <a:endParaRPr lang="de-DE"/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08299A53-0EAB-545E-5B9A-36A306D68AA5}"/>
              </a:ext>
            </a:extLst>
          </p:cNvPr>
          <p:cNvSpPr/>
          <p:nvPr userDrawn="1"/>
        </p:nvSpPr>
        <p:spPr>
          <a:xfrm>
            <a:off x="0" y="1619887"/>
            <a:ext cx="12191701" cy="4161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ED253BC4-2080-05B1-48AE-043B6B12C8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85219" y="1741574"/>
            <a:ext cx="1188000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UNDE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A2D186FC-2E00-F070-63F1-7CA81450AAB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360206" y="1741574"/>
            <a:ext cx="1188000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PROJEKTTYP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79AD2616-F94C-FABA-8115-420C3A1FB6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60002" y="1741574"/>
            <a:ext cx="1188000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 CONSULTANTS</a:t>
            </a:r>
          </a:p>
        </p:txBody>
      </p:sp>
      <p:sp>
        <p:nvSpPr>
          <p:cNvPr id="32" name="Textplatzhalter 22">
            <a:extLst>
              <a:ext uri="{FF2B5EF4-FFF2-40B4-BE49-F238E27FC236}">
                <a16:creationId xmlns:a16="http://schemas.microsoft.com/office/drawing/2014/main" id="{B4E20E9E-EDC9-F77D-9230-C69827DE75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29875" y="1741574"/>
            <a:ext cx="1188000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LAUFZEI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56E741-995F-AA74-5FB6-5B6FC6C7F230}"/>
              </a:ext>
            </a:extLst>
          </p:cNvPr>
          <p:cNvSpPr/>
          <p:nvPr userDrawn="1"/>
        </p:nvSpPr>
        <p:spPr>
          <a:xfrm>
            <a:off x="0" y="0"/>
            <a:ext cx="12192000" cy="16198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3C62097-443B-8684-8B05-508CFAB1E4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20000"/>
            <a:ext cx="11233927" cy="615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Referenz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B99572A-F465-965F-1DFA-4B0F2FA7E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86B6DE-C23E-AE7F-195A-333EC0FEE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06440-8751-9F9B-B2A1-E4E9D5496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13" name="Rechteck 29">
            <a:extLst>
              <a:ext uri="{FF2B5EF4-FFF2-40B4-BE49-F238E27FC236}">
                <a16:creationId xmlns:a16="http://schemas.microsoft.com/office/drawing/2014/main" id="{660ACAC8-428A-1956-5DFE-8A24938CF81F}"/>
              </a:ext>
            </a:extLst>
          </p:cNvPr>
          <p:cNvSpPr/>
          <p:nvPr userDrawn="1"/>
        </p:nvSpPr>
        <p:spPr>
          <a:xfrm>
            <a:off x="1072093" y="1720251"/>
            <a:ext cx="1266615" cy="2154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scene3d>
            <a:camera prst="obliqueTopLeft"/>
            <a:lightRig rig="threePt" dir="t"/>
          </a:scene3d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EY FACTS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5" name="Freeform 127">
            <a:extLst>
              <a:ext uri="{FF2B5EF4-FFF2-40B4-BE49-F238E27FC236}">
                <a16:creationId xmlns:a16="http://schemas.microsoft.com/office/drawing/2014/main" id="{C8285784-2A18-1334-2385-F8ACD41DDB8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658349" y="1717475"/>
            <a:ext cx="288000" cy="221906"/>
          </a:xfrm>
          <a:custGeom>
            <a:avLst/>
            <a:gdLst>
              <a:gd name="T0" fmla="*/ 199 w 309"/>
              <a:gd name="T1" fmla="*/ 232 h 244"/>
              <a:gd name="T2" fmla="*/ 222 w 309"/>
              <a:gd name="T3" fmla="*/ 225 h 244"/>
              <a:gd name="T4" fmla="*/ 248 w 309"/>
              <a:gd name="T5" fmla="*/ 202 h 244"/>
              <a:gd name="T6" fmla="*/ 273 w 309"/>
              <a:gd name="T7" fmla="*/ 177 h 244"/>
              <a:gd name="T8" fmla="*/ 308 w 309"/>
              <a:gd name="T9" fmla="*/ 128 h 244"/>
              <a:gd name="T10" fmla="*/ 216 w 309"/>
              <a:gd name="T11" fmla="*/ 12 h 244"/>
              <a:gd name="T12" fmla="*/ 115 w 309"/>
              <a:gd name="T13" fmla="*/ 19 h 244"/>
              <a:gd name="T14" fmla="*/ 3 w 309"/>
              <a:gd name="T15" fmla="*/ 136 h 244"/>
              <a:gd name="T16" fmla="*/ 44 w 309"/>
              <a:gd name="T17" fmla="*/ 199 h 244"/>
              <a:gd name="T18" fmla="*/ 60 w 309"/>
              <a:gd name="T19" fmla="*/ 217 h 244"/>
              <a:gd name="T20" fmla="*/ 82 w 309"/>
              <a:gd name="T21" fmla="*/ 228 h 244"/>
              <a:gd name="T22" fmla="*/ 128 w 309"/>
              <a:gd name="T23" fmla="*/ 244 h 244"/>
              <a:gd name="T24" fmla="*/ 147 w 309"/>
              <a:gd name="T25" fmla="*/ 233 h 244"/>
              <a:gd name="T26" fmla="*/ 122 w 309"/>
              <a:gd name="T27" fmla="*/ 30 h 244"/>
              <a:gd name="T28" fmla="*/ 194 w 309"/>
              <a:gd name="T29" fmla="*/ 20 h 244"/>
              <a:gd name="T30" fmla="*/ 263 w 309"/>
              <a:gd name="T31" fmla="*/ 31 h 244"/>
              <a:gd name="T32" fmla="*/ 278 w 309"/>
              <a:gd name="T33" fmla="*/ 143 h 244"/>
              <a:gd name="T34" fmla="*/ 136 w 309"/>
              <a:gd name="T35" fmla="*/ 85 h 244"/>
              <a:gd name="T36" fmla="*/ 122 w 309"/>
              <a:gd name="T37" fmla="*/ 30 h 244"/>
              <a:gd name="T38" fmla="*/ 45 w 309"/>
              <a:gd name="T39" fmla="*/ 186 h 244"/>
              <a:gd name="T40" fmla="*/ 32 w 309"/>
              <a:gd name="T41" fmla="*/ 155 h 244"/>
              <a:gd name="T42" fmla="*/ 73 w 309"/>
              <a:gd name="T43" fmla="*/ 206 h 244"/>
              <a:gd name="T44" fmla="*/ 57 w 309"/>
              <a:gd name="T45" fmla="*/ 195 h 244"/>
              <a:gd name="T46" fmla="*/ 67 w 309"/>
              <a:gd name="T47" fmla="*/ 172 h 244"/>
              <a:gd name="T48" fmla="*/ 85 w 309"/>
              <a:gd name="T49" fmla="*/ 171 h 244"/>
              <a:gd name="T50" fmla="*/ 73 w 309"/>
              <a:gd name="T51" fmla="*/ 206 h 244"/>
              <a:gd name="T52" fmla="*/ 102 w 309"/>
              <a:gd name="T53" fmla="*/ 221 h 244"/>
              <a:gd name="T54" fmla="*/ 97 w 309"/>
              <a:gd name="T55" fmla="*/ 181 h 244"/>
              <a:gd name="T56" fmla="*/ 110 w 309"/>
              <a:gd name="T57" fmla="*/ 197 h 244"/>
              <a:gd name="T58" fmla="*/ 137 w 309"/>
              <a:gd name="T59" fmla="*/ 219 h 244"/>
              <a:gd name="T60" fmla="*/ 132 w 309"/>
              <a:gd name="T61" fmla="*/ 230 h 244"/>
              <a:gd name="T62" fmla="*/ 115 w 309"/>
              <a:gd name="T63" fmla="*/ 225 h 244"/>
              <a:gd name="T64" fmla="*/ 138 w 309"/>
              <a:gd name="T65" fmla="*/ 205 h 244"/>
              <a:gd name="T66" fmla="*/ 123 w 309"/>
              <a:gd name="T67" fmla="*/ 187 h 244"/>
              <a:gd name="T68" fmla="*/ 98 w 309"/>
              <a:gd name="T69" fmla="*/ 168 h 244"/>
              <a:gd name="T70" fmla="*/ 68 w 309"/>
              <a:gd name="T71" fmla="*/ 152 h 244"/>
              <a:gd name="T72" fmla="*/ 15 w 309"/>
              <a:gd name="T73" fmla="*/ 128 h 244"/>
              <a:gd name="T74" fmla="*/ 107 w 309"/>
              <a:gd name="T75" fmla="*/ 32 h 244"/>
              <a:gd name="T76" fmla="*/ 113 w 309"/>
              <a:gd name="T77" fmla="*/ 116 h 244"/>
              <a:gd name="T78" fmla="*/ 231 w 309"/>
              <a:gd name="T79" fmla="*/ 115 h 244"/>
              <a:gd name="T80" fmla="*/ 264 w 309"/>
              <a:gd name="T81" fmla="*/ 167 h 244"/>
              <a:gd name="T82" fmla="*/ 220 w 309"/>
              <a:gd name="T83" fmla="*/ 145 h 244"/>
              <a:gd name="T84" fmla="*/ 199 w 309"/>
              <a:gd name="T85" fmla="*/ 133 h 244"/>
              <a:gd name="T86" fmla="*/ 246 w 309"/>
              <a:gd name="T87" fmla="*/ 183 h 244"/>
              <a:gd name="T88" fmla="*/ 228 w 309"/>
              <a:gd name="T89" fmla="*/ 197 h 244"/>
              <a:gd name="T90" fmla="*/ 188 w 309"/>
              <a:gd name="T91" fmla="*/ 167 h 244"/>
              <a:gd name="T92" fmla="*/ 219 w 309"/>
              <a:gd name="T93" fmla="*/ 206 h 244"/>
              <a:gd name="T94" fmla="*/ 204 w 309"/>
              <a:gd name="T95" fmla="*/ 219 h 244"/>
              <a:gd name="T96" fmla="*/ 162 w 309"/>
              <a:gd name="T97" fmla="*/ 196 h 244"/>
              <a:gd name="T98" fmla="*/ 188 w 309"/>
              <a:gd name="T99" fmla="*/ 224 h 244"/>
              <a:gd name="T100" fmla="*/ 151 w 309"/>
              <a:gd name="T101" fmla="*/ 22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9" h="244">
                <a:moveTo>
                  <a:pt x="176" y="239"/>
                </a:moveTo>
                <a:cubicBezTo>
                  <a:pt x="181" y="239"/>
                  <a:pt x="184" y="238"/>
                  <a:pt x="188" y="238"/>
                </a:cubicBezTo>
                <a:cubicBezTo>
                  <a:pt x="192" y="236"/>
                  <a:pt x="196" y="235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200" y="232"/>
                  <a:pt x="201" y="232"/>
                  <a:pt x="201" y="232"/>
                </a:cubicBezTo>
                <a:cubicBezTo>
                  <a:pt x="202" y="232"/>
                  <a:pt x="203" y="233"/>
                  <a:pt x="204" y="233"/>
                </a:cubicBezTo>
                <a:cubicBezTo>
                  <a:pt x="210" y="233"/>
                  <a:pt x="217" y="230"/>
                  <a:pt x="222" y="225"/>
                </a:cubicBezTo>
                <a:cubicBezTo>
                  <a:pt x="227" y="221"/>
                  <a:pt x="230" y="216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8" y="209"/>
                  <a:pt x="243" y="206"/>
                  <a:pt x="248" y="202"/>
                </a:cubicBezTo>
                <a:cubicBezTo>
                  <a:pt x="254" y="197"/>
                  <a:pt x="257" y="191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64" y="184"/>
                  <a:pt x="269" y="181"/>
                  <a:pt x="273" y="177"/>
                </a:cubicBezTo>
                <a:cubicBezTo>
                  <a:pt x="280" y="171"/>
                  <a:pt x="284" y="164"/>
                  <a:pt x="285" y="155"/>
                </a:cubicBezTo>
                <a:cubicBezTo>
                  <a:pt x="285" y="155"/>
                  <a:pt x="285" y="155"/>
                  <a:pt x="285" y="155"/>
                </a:cubicBezTo>
                <a:cubicBezTo>
                  <a:pt x="307" y="135"/>
                  <a:pt x="307" y="135"/>
                  <a:pt x="307" y="135"/>
                </a:cubicBezTo>
                <a:cubicBezTo>
                  <a:pt x="308" y="134"/>
                  <a:pt x="309" y="131"/>
                  <a:pt x="308" y="128"/>
                </a:cubicBezTo>
                <a:cubicBezTo>
                  <a:pt x="274" y="23"/>
                  <a:pt x="274" y="23"/>
                  <a:pt x="274" y="23"/>
                </a:cubicBezTo>
                <a:cubicBezTo>
                  <a:pt x="273" y="21"/>
                  <a:pt x="271" y="19"/>
                  <a:pt x="269" y="19"/>
                </a:cubicBezTo>
                <a:cubicBezTo>
                  <a:pt x="269" y="19"/>
                  <a:pt x="269" y="19"/>
                  <a:pt x="269" y="19"/>
                </a:cubicBezTo>
                <a:cubicBezTo>
                  <a:pt x="264" y="18"/>
                  <a:pt x="226" y="12"/>
                  <a:pt x="216" y="12"/>
                </a:cubicBezTo>
                <a:cubicBezTo>
                  <a:pt x="213" y="12"/>
                  <a:pt x="205" y="10"/>
                  <a:pt x="198" y="7"/>
                </a:cubicBezTo>
                <a:cubicBezTo>
                  <a:pt x="185" y="4"/>
                  <a:pt x="171" y="0"/>
                  <a:pt x="162" y="1"/>
                </a:cubicBezTo>
                <a:cubicBezTo>
                  <a:pt x="148" y="2"/>
                  <a:pt x="123" y="15"/>
                  <a:pt x="115" y="19"/>
                </a:cubicBezTo>
                <a:cubicBezTo>
                  <a:pt x="115" y="19"/>
                  <a:pt x="115" y="19"/>
                  <a:pt x="11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2" y="19"/>
                  <a:pt x="40" y="21"/>
                  <a:pt x="39" y="23"/>
                </a:cubicBezTo>
                <a:cubicBezTo>
                  <a:pt x="1" y="128"/>
                  <a:pt x="1" y="128"/>
                  <a:pt x="1" y="128"/>
                </a:cubicBezTo>
                <a:cubicBezTo>
                  <a:pt x="0" y="131"/>
                  <a:pt x="1" y="134"/>
                  <a:pt x="3" y="136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16" y="156"/>
                  <a:pt x="11" y="168"/>
                  <a:pt x="14" y="175"/>
                </a:cubicBezTo>
                <a:cubicBezTo>
                  <a:pt x="17" y="184"/>
                  <a:pt x="33" y="196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200"/>
                  <a:pt x="44" y="201"/>
                  <a:pt x="44" y="201"/>
                </a:cubicBezTo>
                <a:cubicBezTo>
                  <a:pt x="46" y="208"/>
                  <a:pt x="51" y="213"/>
                  <a:pt x="60" y="217"/>
                </a:cubicBezTo>
                <a:cubicBezTo>
                  <a:pt x="65" y="219"/>
                  <a:pt x="70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6" y="223"/>
                  <a:pt x="79" y="225"/>
                  <a:pt x="82" y="228"/>
                </a:cubicBezTo>
                <a:cubicBezTo>
                  <a:pt x="89" y="233"/>
                  <a:pt x="99" y="235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11" y="239"/>
                  <a:pt x="119" y="244"/>
                  <a:pt x="128" y="244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2" y="244"/>
                  <a:pt x="136" y="243"/>
                  <a:pt x="139" y="241"/>
                </a:cubicBezTo>
                <a:cubicBezTo>
                  <a:pt x="142" y="239"/>
                  <a:pt x="145" y="237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56" y="237"/>
                  <a:pt x="167" y="239"/>
                  <a:pt x="176" y="239"/>
                </a:cubicBezTo>
                <a:close/>
                <a:moveTo>
                  <a:pt x="122" y="30"/>
                </a:moveTo>
                <a:cubicBezTo>
                  <a:pt x="122" y="30"/>
                  <a:pt x="122" y="30"/>
                  <a:pt x="122" y="30"/>
                </a:cubicBezTo>
                <a:cubicBezTo>
                  <a:pt x="132" y="25"/>
                  <a:pt x="153" y="14"/>
                  <a:pt x="163" y="14"/>
                </a:cubicBezTo>
                <a:cubicBezTo>
                  <a:pt x="163" y="14"/>
                  <a:pt x="164" y="14"/>
                  <a:pt x="164" y="14"/>
                </a:cubicBezTo>
                <a:cubicBezTo>
                  <a:pt x="171" y="14"/>
                  <a:pt x="184" y="17"/>
                  <a:pt x="194" y="20"/>
                </a:cubicBezTo>
                <a:cubicBezTo>
                  <a:pt x="194" y="20"/>
                  <a:pt x="194" y="20"/>
                  <a:pt x="194" y="20"/>
                </a:cubicBezTo>
                <a:cubicBezTo>
                  <a:pt x="203" y="23"/>
                  <a:pt x="211" y="25"/>
                  <a:pt x="216" y="25"/>
                </a:cubicBezTo>
                <a:cubicBezTo>
                  <a:pt x="222" y="25"/>
                  <a:pt x="245" y="29"/>
                  <a:pt x="262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95" y="129"/>
                  <a:pt x="295" y="129"/>
                  <a:pt x="295" y="129"/>
                </a:cubicBezTo>
                <a:cubicBezTo>
                  <a:pt x="294" y="129"/>
                  <a:pt x="294" y="129"/>
                  <a:pt x="294" y="129"/>
                </a:cubicBezTo>
                <a:cubicBezTo>
                  <a:pt x="279" y="143"/>
                  <a:pt x="279" y="143"/>
                  <a:pt x="279" y="143"/>
                </a:cubicBezTo>
                <a:cubicBezTo>
                  <a:pt x="278" y="143"/>
                  <a:pt x="278" y="143"/>
                  <a:pt x="278" y="143"/>
                </a:cubicBezTo>
                <a:cubicBezTo>
                  <a:pt x="241" y="106"/>
                  <a:pt x="241" y="106"/>
                  <a:pt x="241" y="106"/>
                </a:cubicBezTo>
                <a:cubicBezTo>
                  <a:pt x="232" y="96"/>
                  <a:pt x="202" y="64"/>
                  <a:pt x="191" y="61"/>
                </a:cubicBezTo>
                <a:cubicBezTo>
                  <a:pt x="174" y="56"/>
                  <a:pt x="159" y="59"/>
                  <a:pt x="147" y="69"/>
                </a:cubicBezTo>
                <a:cubicBezTo>
                  <a:pt x="142" y="74"/>
                  <a:pt x="139" y="79"/>
                  <a:pt x="136" y="85"/>
                </a:cubicBezTo>
                <a:cubicBezTo>
                  <a:pt x="131" y="94"/>
                  <a:pt x="127" y="102"/>
                  <a:pt x="111" y="103"/>
                </a:cubicBezTo>
                <a:cubicBezTo>
                  <a:pt x="104" y="104"/>
                  <a:pt x="98" y="103"/>
                  <a:pt x="96" y="100"/>
                </a:cubicBezTo>
                <a:cubicBezTo>
                  <a:pt x="94" y="98"/>
                  <a:pt x="94" y="96"/>
                  <a:pt x="95" y="95"/>
                </a:cubicBezTo>
                <a:lnTo>
                  <a:pt x="122" y="30"/>
                </a:lnTo>
                <a:close/>
                <a:moveTo>
                  <a:pt x="52" y="170"/>
                </a:moveTo>
                <a:cubicBezTo>
                  <a:pt x="50" y="175"/>
                  <a:pt x="47" y="180"/>
                  <a:pt x="46" y="186"/>
                </a:cubicBezTo>
                <a:cubicBezTo>
                  <a:pt x="46" y="186"/>
                  <a:pt x="46" y="186"/>
                  <a:pt x="46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9" y="183"/>
                  <a:pt x="28" y="176"/>
                  <a:pt x="26" y="171"/>
                </a:cubicBezTo>
                <a:cubicBezTo>
                  <a:pt x="26" y="171"/>
                  <a:pt x="26" y="171"/>
                  <a:pt x="26" y="171"/>
                </a:cubicBezTo>
                <a:cubicBezTo>
                  <a:pt x="25" y="169"/>
                  <a:pt x="28" y="161"/>
                  <a:pt x="31" y="156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52" y="170"/>
                  <a:pt x="52" y="170"/>
                  <a:pt x="52" y="170"/>
                </a:cubicBezTo>
                <a:close/>
                <a:moveTo>
                  <a:pt x="73" y="206"/>
                </a:moveTo>
                <a:cubicBezTo>
                  <a:pt x="73" y="206"/>
                  <a:pt x="73" y="206"/>
                  <a:pt x="73" y="206"/>
                </a:cubicBezTo>
                <a:cubicBezTo>
                  <a:pt x="73" y="206"/>
                  <a:pt x="72" y="206"/>
                  <a:pt x="72" y="206"/>
                </a:cubicBezTo>
                <a:cubicBezTo>
                  <a:pt x="71" y="206"/>
                  <a:pt x="68" y="206"/>
                  <a:pt x="65" y="205"/>
                </a:cubicBezTo>
                <a:cubicBezTo>
                  <a:pt x="60" y="203"/>
                  <a:pt x="57" y="200"/>
                  <a:pt x="57" y="198"/>
                </a:cubicBezTo>
                <a:cubicBezTo>
                  <a:pt x="57" y="197"/>
                  <a:pt x="57" y="196"/>
                  <a:pt x="57" y="195"/>
                </a:cubicBezTo>
                <a:cubicBezTo>
                  <a:pt x="57" y="195"/>
                  <a:pt x="57" y="194"/>
                  <a:pt x="57" y="194"/>
                </a:cubicBezTo>
                <a:cubicBezTo>
                  <a:pt x="58" y="188"/>
                  <a:pt x="62" y="179"/>
                  <a:pt x="65" y="173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66" y="173"/>
                  <a:pt x="67" y="172"/>
                  <a:pt x="67" y="172"/>
                </a:cubicBezTo>
                <a:cubicBezTo>
                  <a:pt x="67" y="171"/>
                  <a:pt x="68" y="170"/>
                  <a:pt x="68" y="169"/>
                </a:cubicBezTo>
                <a:cubicBezTo>
                  <a:pt x="68" y="169"/>
                  <a:pt x="68" y="169"/>
                  <a:pt x="68" y="169"/>
                </a:cubicBezTo>
                <a:cubicBezTo>
                  <a:pt x="70" y="166"/>
                  <a:pt x="71" y="165"/>
                  <a:pt x="72" y="164"/>
                </a:cubicBezTo>
                <a:cubicBezTo>
                  <a:pt x="76" y="163"/>
                  <a:pt x="84" y="169"/>
                  <a:pt x="85" y="171"/>
                </a:cubicBezTo>
                <a:cubicBezTo>
                  <a:pt x="85" y="172"/>
                  <a:pt x="85" y="172"/>
                  <a:pt x="85" y="172"/>
                </a:cubicBezTo>
                <a:cubicBezTo>
                  <a:pt x="86" y="172"/>
                  <a:pt x="86" y="173"/>
                  <a:pt x="85" y="175"/>
                </a:cubicBezTo>
                <a:cubicBezTo>
                  <a:pt x="85" y="175"/>
                  <a:pt x="85" y="175"/>
                  <a:pt x="85" y="175"/>
                </a:cubicBezTo>
                <a:lnTo>
                  <a:pt x="73" y="206"/>
                </a:lnTo>
                <a:close/>
                <a:moveTo>
                  <a:pt x="110" y="197"/>
                </a:moveTo>
                <a:cubicBezTo>
                  <a:pt x="110" y="197"/>
                  <a:pt x="110" y="197"/>
                  <a:pt x="110" y="197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99" y="221"/>
                  <a:pt x="94" y="220"/>
                  <a:pt x="90" y="217"/>
                </a:cubicBezTo>
                <a:cubicBezTo>
                  <a:pt x="87" y="215"/>
                  <a:pt x="86" y="214"/>
                  <a:pt x="85" y="212"/>
                </a:cubicBezTo>
                <a:cubicBezTo>
                  <a:pt x="85" y="212"/>
                  <a:pt x="85" y="212"/>
                  <a:pt x="85" y="212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103" y="182"/>
                  <a:pt x="109" y="185"/>
                  <a:pt x="110" y="187"/>
                </a:cubicBezTo>
                <a:cubicBezTo>
                  <a:pt x="110" y="187"/>
                  <a:pt x="110" y="187"/>
                  <a:pt x="110" y="187"/>
                </a:cubicBezTo>
                <a:cubicBezTo>
                  <a:pt x="110" y="188"/>
                  <a:pt x="111" y="191"/>
                  <a:pt x="110" y="197"/>
                </a:cubicBezTo>
                <a:close/>
                <a:moveTo>
                  <a:pt x="138" y="218"/>
                </a:moveTo>
                <a:cubicBezTo>
                  <a:pt x="138" y="218"/>
                  <a:pt x="138" y="218"/>
                  <a:pt x="138" y="218"/>
                </a:cubicBezTo>
                <a:cubicBezTo>
                  <a:pt x="138" y="218"/>
                  <a:pt x="138" y="218"/>
                  <a:pt x="138" y="218"/>
                </a:cubicBezTo>
                <a:cubicBezTo>
                  <a:pt x="138" y="219"/>
                  <a:pt x="137" y="219"/>
                  <a:pt x="137" y="219"/>
                </a:cubicBezTo>
                <a:cubicBezTo>
                  <a:pt x="136" y="221"/>
                  <a:pt x="136" y="223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5" y="227"/>
                  <a:pt x="134" y="229"/>
                  <a:pt x="132" y="230"/>
                </a:cubicBezTo>
                <a:cubicBezTo>
                  <a:pt x="131" y="231"/>
                  <a:pt x="130" y="231"/>
                  <a:pt x="128" y="231"/>
                </a:cubicBezTo>
                <a:cubicBezTo>
                  <a:pt x="124" y="231"/>
                  <a:pt x="118" y="228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4" y="200"/>
                  <a:pt x="127" y="199"/>
                  <a:pt x="129" y="200"/>
                </a:cubicBezTo>
                <a:cubicBezTo>
                  <a:pt x="132" y="200"/>
                  <a:pt x="137" y="201"/>
                  <a:pt x="138" y="205"/>
                </a:cubicBezTo>
                <a:cubicBezTo>
                  <a:pt x="139" y="208"/>
                  <a:pt x="139" y="213"/>
                  <a:pt x="138" y="218"/>
                </a:cubicBezTo>
                <a:close/>
                <a:moveTo>
                  <a:pt x="131" y="187"/>
                </a:moveTo>
                <a:cubicBezTo>
                  <a:pt x="129" y="187"/>
                  <a:pt x="126" y="187"/>
                  <a:pt x="124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5"/>
                  <a:pt x="123" y="184"/>
                  <a:pt x="123" y="184"/>
                </a:cubicBezTo>
                <a:cubicBezTo>
                  <a:pt x="121" y="175"/>
                  <a:pt x="109" y="169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7"/>
                </a:cubicBezTo>
                <a:cubicBezTo>
                  <a:pt x="96" y="162"/>
                  <a:pt x="90" y="156"/>
                  <a:pt x="84" y="154"/>
                </a:cubicBezTo>
                <a:cubicBezTo>
                  <a:pt x="78" y="151"/>
                  <a:pt x="73" y="150"/>
                  <a:pt x="68" y="152"/>
                </a:cubicBezTo>
                <a:cubicBezTo>
                  <a:pt x="65" y="153"/>
                  <a:pt x="63" y="155"/>
                  <a:pt x="60" y="158"/>
                </a:cubicBezTo>
                <a:cubicBezTo>
                  <a:pt x="60" y="159"/>
                  <a:pt x="60" y="159"/>
                  <a:pt x="60" y="159"/>
                </a:cubicBezTo>
                <a:cubicBezTo>
                  <a:pt x="59" y="158"/>
                  <a:pt x="59" y="158"/>
                  <a:pt x="59" y="15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50" y="32"/>
                  <a:pt x="50" y="32"/>
                  <a:pt x="50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82" y="90"/>
                  <a:pt x="82" y="90"/>
                  <a:pt x="82" y="90"/>
                </a:cubicBezTo>
                <a:cubicBezTo>
                  <a:pt x="82" y="90"/>
                  <a:pt x="82" y="91"/>
                  <a:pt x="82" y="91"/>
                </a:cubicBezTo>
                <a:cubicBezTo>
                  <a:pt x="82" y="92"/>
                  <a:pt x="79" y="101"/>
                  <a:pt x="86" y="108"/>
                </a:cubicBezTo>
                <a:cubicBezTo>
                  <a:pt x="91" y="115"/>
                  <a:pt x="100" y="117"/>
                  <a:pt x="113" y="116"/>
                </a:cubicBezTo>
                <a:cubicBezTo>
                  <a:pt x="135" y="114"/>
                  <a:pt x="142" y="101"/>
                  <a:pt x="148" y="91"/>
                </a:cubicBezTo>
                <a:cubicBezTo>
                  <a:pt x="150" y="86"/>
                  <a:pt x="152" y="82"/>
                  <a:pt x="155" y="79"/>
                </a:cubicBezTo>
                <a:cubicBezTo>
                  <a:pt x="164" y="72"/>
                  <a:pt x="174" y="70"/>
                  <a:pt x="187" y="74"/>
                </a:cubicBezTo>
                <a:cubicBezTo>
                  <a:pt x="193" y="75"/>
                  <a:pt x="214" y="96"/>
                  <a:pt x="231" y="115"/>
                </a:cubicBezTo>
                <a:cubicBezTo>
                  <a:pt x="231" y="115"/>
                  <a:pt x="231" y="115"/>
                  <a:pt x="231" y="11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1" y="159"/>
                  <a:pt x="268" y="164"/>
                  <a:pt x="264" y="167"/>
                </a:cubicBezTo>
                <a:cubicBezTo>
                  <a:pt x="261" y="170"/>
                  <a:pt x="257" y="172"/>
                  <a:pt x="254" y="172"/>
                </a:cubicBezTo>
                <a:cubicBezTo>
                  <a:pt x="254" y="172"/>
                  <a:pt x="254" y="172"/>
                  <a:pt x="254" y="172"/>
                </a:cubicBezTo>
                <a:cubicBezTo>
                  <a:pt x="253" y="172"/>
                  <a:pt x="253" y="172"/>
                  <a:pt x="253" y="172"/>
                </a:cubicBezTo>
                <a:cubicBezTo>
                  <a:pt x="220" y="145"/>
                  <a:pt x="220" y="145"/>
                  <a:pt x="220" y="145"/>
                </a:cubicBezTo>
                <a:cubicBezTo>
                  <a:pt x="217" y="142"/>
                  <a:pt x="212" y="135"/>
                  <a:pt x="212" y="132"/>
                </a:cubicBezTo>
                <a:cubicBezTo>
                  <a:pt x="212" y="128"/>
                  <a:pt x="209" y="126"/>
                  <a:pt x="205" y="126"/>
                </a:cubicBezTo>
                <a:cubicBezTo>
                  <a:pt x="205" y="126"/>
                  <a:pt x="205" y="126"/>
                  <a:pt x="205" y="126"/>
                </a:cubicBezTo>
                <a:cubicBezTo>
                  <a:pt x="201" y="126"/>
                  <a:pt x="199" y="129"/>
                  <a:pt x="199" y="133"/>
                </a:cubicBezTo>
                <a:cubicBezTo>
                  <a:pt x="200" y="142"/>
                  <a:pt x="209" y="152"/>
                  <a:pt x="211" y="154"/>
                </a:cubicBezTo>
                <a:cubicBezTo>
                  <a:pt x="211" y="155"/>
                  <a:pt x="211" y="155"/>
                  <a:pt x="212" y="155"/>
                </a:cubicBezTo>
                <a:cubicBezTo>
                  <a:pt x="245" y="182"/>
                  <a:pt x="245" y="182"/>
                  <a:pt x="245" y="182"/>
                </a:cubicBezTo>
                <a:cubicBezTo>
                  <a:pt x="245" y="182"/>
                  <a:pt x="245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5" y="186"/>
                  <a:pt x="243" y="189"/>
                  <a:pt x="240" y="192"/>
                </a:cubicBezTo>
                <a:cubicBezTo>
                  <a:pt x="236" y="195"/>
                  <a:pt x="232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193" y="168"/>
                  <a:pt x="193" y="168"/>
                  <a:pt x="193" y="168"/>
                </a:cubicBezTo>
                <a:cubicBezTo>
                  <a:pt x="192" y="167"/>
                  <a:pt x="190" y="167"/>
                  <a:pt x="188" y="167"/>
                </a:cubicBezTo>
                <a:cubicBezTo>
                  <a:pt x="186" y="167"/>
                  <a:pt x="185" y="168"/>
                  <a:pt x="184" y="169"/>
                </a:cubicBezTo>
                <a:cubicBezTo>
                  <a:pt x="183" y="171"/>
                  <a:pt x="182" y="172"/>
                  <a:pt x="182" y="174"/>
                </a:cubicBezTo>
                <a:cubicBezTo>
                  <a:pt x="182" y="176"/>
                  <a:pt x="183" y="177"/>
                  <a:pt x="185" y="178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8" y="210"/>
                  <a:pt x="216" y="213"/>
                  <a:pt x="213" y="215"/>
                </a:cubicBezTo>
                <a:cubicBezTo>
                  <a:pt x="211" y="218"/>
                  <a:pt x="207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171" y="194"/>
                  <a:pt x="171" y="194"/>
                  <a:pt x="171" y="194"/>
                </a:cubicBezTo>
                <a:cubicBezTo>
                  <a:pt x="170" y="193"/>
                  <a:pt x="168" y="193"/>
                  <a:pt x="166" y="193"/>
                </a:cubicBezTo>
                <a:cubicBezTo>
                  <a:pt x="165" y="193"/>
                  <a:pt x="163" y="194"/>
                  <a:pt x="162" y="196"/>
                </a:cubicBezTo>
                <a:cubicBezTo>
                  <a:pt x="161" y="197"/>
                  <a:pt x="161" y="199"/>
                  <a:pt x="161" y="201"/>
                </a:cubicBezTo>
                <a:cubicBezTo>
                  <a:pt x="161" y="202"/>
                  <a:pt x="162" y="204"/>
                  <a:pt x="163" y="205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7" y="224"/>
                  <a:pt x="186" y="225"/>
                  <a:pt x="185" y="225"/>
                </a:cubicBezTo>
                <a:cubicBezTo>
                  <a:pt x="182" y="225"/>
                  <a:pt x="179" y="226"/>
                  <a:pt x="176" y="226"/>
                </a:cubicBezTo>
                <a:cubicBezTo>
                  <a:pt x="168" y="226"/>
                  <a:pt x="158" y="223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3" y="212"/>
                  <a:pt x="152" y="205"/>
                  <a:pt x="151" y="201"/>
                </a:cubicBezTo>
                <a:cubicBezTo>
                  <a:pt x="149" y="193"/>
                  <a:pt x="141" y="188"/>
                  <a:pt x="131" y="187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73737"/>
              </a:solidFill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70AB1CB-EDC7-2A39-59F7-9B06A04673F4}"/>
              </a:ext>
            </a:extLst>
          </p:cNvPr>
          <p:cNvGrpSpPr/>
          <p:nvPr userDrawn="1"/>
        </p:nvGrpSpPr>
        <p:grpSpPr>
          <a:xfrm>
            <a:off x="10024725" y="1707004"/>
            <a:ext cx="216000" cy="242847"/>
            <a:chOff x="9863618" y="1707004"/>
            <a:chExt cx="216000" cy="242847"/>
          </a:xfrm>
        </p:grpSpPr>
        <p:sp>
          <p:nvSpPr>
            <p:cNvPr id="220" name="Freeform 14">
              <a:extLst>
                <a:ext uri="{FF2B5EF4-FFF2-40B4-BE49-F238E27FC236}">
                  <a16:creationId xmlns:a16="http://schemas.microsoft.com/office/drawing/2014/main" id="{9C2921C1-75FA-89C3-B007-49C975BC72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3618" y="1707004"/>
              <a:ext cx="216000" cy="242847"/>
            </a:xfrm>
            <a:custGeom>
              <a:avLst/>
              <a:gdLst>
                <a:gd name="T0" fmla="*/ 79 w 86"/>
                <a:gd name="T1" fmla="*/ 41 h 96"/>
                <a:gd name="T2" fmla="*/ 59 w 86"/>
                <a:gd name="T3" fmla="*/ 18 h 96"/>
                <a:gd name="T4" fmla="*/ 27 w 86"/>
                <a:gd name="T5" fmla="*/ 18 h 96"/>
                <a:gd name="T6" fmla="*/ 7 w 86"/>
                <a:gd name="T7" fmla="*/ 41 h 96"/>
                <a:gd name="T8" fmla="*/ 7 w 86"/>
                <a:gd name="T9" fmla="*/ 55 h 96"/>
                <a:gd name="T10" fmla="*/ 15 w 86"/>
                <a:gd name="T11" fmla="*/ 80 h 96"/>
                <a:gd name="T12" fmla="*/ 43 w 86"/>
                <a:gd name="T13" fmla="*/ 96 h 96"/>
                <a:gd name="T14" fmla="*/ 71 w 86"/>
                <a:gd name="T15" fmla="*/ 80 h 96"/>
                <a:gd name="T16" fmla="*/ 79 w 86"/>
                <a:gd name="T17" fmla="*/ 55 h 96"/>
                <a:gd name="T18" fmla="*/ 71 w 86"/>
                <a:gd name="T19" fmla="*/ 20 h 96"/>
                <a:gd name="T20" fmla="*/ 75 w 86"/>
                <a:gd name="T21" fmla="*/ 39 h 96"/>
                <a:gd name="T22" fmla="*/ 63 w 86"/>
                <a:gd name="T23" fmla="*/ 38 h 96"/>
                <a:gd name="T24" fmla="*/ 71 w 86"/>
                <a:gd name="T25" fmla="*/ 20 h 96"/>
                <a:gd name="T26" fmla="*/ 43 w 86"/>
                <a:gd name="T27" fmla="*/ 67 h 96"/>
                <a:gd name="T28" fmla="*/ 27 w 86"/>
                <a:gd name="T29" fmla="*/ 56 h 96"/>
                <a:gd name="T30" fmla="*/ 27 w 86"/>
                <a:gd name="T31" fmla="*/ 40 h 96"/>
                <a:gd name="T32" fmla="*/ 43 w 86"/>
                <a:gd name="T33" fmla="*/ 29 h 96"/>
                <a:gd name="T34" fmla="*/ 59 w 86"/>
                <a:gd name="T35" fmla="*/ 40 h 96"/>
                <a:gd name="T36" fmla="*/ 59 w 86"/>
                <a:gd name="T37" fmla="*/ 56 h 96"/>
                <a:gd name="T38" fmla="*/ 58 w 86"/>
                <a:gd name="T39" fmla="*/ 62 h 96"/>
                <a:gd name="T40" fmla="*/ 47 w 86"/>
                <a:gd name="T41" fmla="*/ 69 h 96"/>
                <a:gd name="T42" fmla="*/ 58 w 86"/>
                <a:gd name="T43" fmla="*/ 62 h 96"/>
                <a:gd name="T44" fmla="*/ 30 w 86"/>
                <a:gd name="T45" fmla="*/ 73 h 96"/>
                <a:gd name="T46" fmla="*/ 32 w 86"/>
                <a:gd name="T47" fmla="*/ 64 h 96"/>
                <a:gd name="T48" fmla="*/ 23 w 86"/>
                <a:gd name="T49" fmla="*/ 53 h 96"/>
                <a:gd name="T50" fmla="*/ 23 w 86"/>
                <a:gd name="T51" fmla="*/ 43 h 96"/>
                <a:gd name="T52" fmla="*/ 23 w 86"/>
                <a:gd name="T53" fmla="*/ 53 h 96"/>
                <a:gd name="T54" fmla="*/ 30 w 86"/>
                <a:gd name="T55" fmla="*/ 23 h 96"/>
                <a:gd name="T56" fmla="*/ 32 w 86"/>
                <a:gd name="T57" fmla="*/ 32 h 96"/>
                <a:gd name="T58" fmla="*/ 47 w 86"/>
                <a:gd name="T59" fmla="*/ 27 h 96"/>
                <a:gd name="T60" fmla="*/ 58 w 86"/>
                <a:gd name="T61" fmla="*/ 34 h 96"/>
                <a:gd name="T62" fmla="*/ 47 w 86"/>
                <a:gd name="T63" fmla="*/ 27 h 96"/>
                <a:gd name="T64" fmla="*/ 68 w 86"/>
                <a:gd name="T65" fmla="*/ 48 h 96"/>
                <a:gd name="T66" fmla="*/ 63 w 86"/>
                <a:gd name="T67" fmla="*/ 48 h 96"/>
                <a:gd name="T68" fmla="*/ 43 w 86"/>
                <a:gd name="T69" fmla="*/ 4 h 96"/>
                <a:gd name="T70" fmla="*/ 43 w 86"/>
                <a:gd name="T71" fmla="*/ 25 h 96"/>
                <a:gd name="T72" fmla="*/ 43 w 86"/>
                <a:gd name="T73" fmla="*/ 4 h 96"/>
                <a:gd name="T74" fmla="*/ 7 w 86"/>
                <a:gd name="T75" fmla="*/ 23 h 96"/>
                <a:gd name="T76" fmla="*/ 23 w 86"/>
                <a:gd name="T77" fmla="*/ 38 h 96"/>
                <a:gd name="T78" fmla="*/ 11 w 86"/>
                <a:gd name="T79" fmla="*/ 39 h 96"/>
                <a:gd name="T80" fmla="*/ 11 w 86"/>
                <a:gd name="T81" fmla="*/ 57 h 96"/>
                <a:gd name="T82" fmla="*/ 23 w 86"/>
                <a:gd name="T83" fmla="*/ 58 h 96"/>
                <a:gd name="T84" fmla="*/ 7 w 86"/>
                <a:gd name="T85" fmla="*/ 73 h 96"/>
                <a:gd name="T86" fmla="*/ 31 w 86"/>
                <a:gd name="T87" fmla="*/ 77 h 96"/>
                <a:gd name="T88" fmla="*/ 55 w 86"/>
                <a:gd name="T89" fmla="*/ 77 h 96"/>
                <a:gd name="T90" fmla="*/ 79 w 86"/>
                <a:gd name="T91" fmla="*/ 73 h 96"/>
                <a:gd name="T92" fmla="*/ 63 w 86"/>
                <a:gd name="T93" fmla="*/ 58 h 96"/>
                <a:gd name="T94" fmla="*/ 75 w 86"/>
                <a:gd name="T95" fmla="*/ 5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6" h="96">
                  <a:moveTo>
                    <a:pt x="73" y="48"/>
                  </a:moveTo>
                  <a:cubicBezTo>
                    <a:pt x="75" y="46"/>
                    <a:pt x="77" y="43"/>
                    <a:pt x="79" y="41"/>
                  </a:cubicBezTo>
                  <a:cubicBezTo>
                    <a:pt x="84" y="33"/>
                    <a:pt x="86" y="25"/>
                    <a:pt x="83" y="21"/>
                  </a:cubicBezTo>
                  <a:cubicBezTo>
                    <a:pt x="79" y="15"/>
                    <a:pt x="70" y="15"/>
                    <a:pt x="59" y="18"/>
                  </a:cubicBezTo>
                  <a:cubicBezTo>
                    <a:pt x="55" y="7"/>
                    <a:pt x="49" y="0"/>
                    <a:pt x="43" y="0"/>
                  </a:cubicBezTo>
                  <a:cubicBezTo>
                    <a:pt x="37" y="0"/>
                    <a:pt x="31" y="7"/>
                    <a:pt x="27" y="18"/>
                  </a:cubicBezTo>
                  <a:cubicBezTo>
                    <a:pt x="16" y="15"/>
                    <a:pt x="7" y="15"/>
                    <a:pt x="3" y="21"/>
                  </a:cubicBezTo>
                  <a:cubicBezTo>
                    <a:pt x="0" y="25"/>
                    <a:pt x="2" y="33"/>
                    <a:pt x="7" y="41"/>
                  </a:cubicBezTo>
                  <a:cubicBezTo>
                    <a:pt x="9" y="43"/>
                    <a:pt x="11" y="46"/>
                    <a:pt x="13" y="48"/>
                  </a:cubicBezTo>
                  <a:cubicBezTo>
                    <a:pt x="11" y="50"/>
                    <a:pt x="9" y="53"/>
                    <a:pt x="7" y="55"/>
                  </a:cubicBezTo>
                  <a:cubicBezTo>
                    <a:pt x="2" y="63"/>
                    <a:pt x="0" y="71"/>
                    <a:pt x="3" y="75"/>
                  </a:cubicBezTo>
                  <a:cubicBezTo>
                    <a:pt x="6" y="78"/>
                    <a:pt x="10" y="80"/>
                    <a:pt x="15" y="80"/>
                  </a:cubicBezTo>
                  <a:cubicBezTo>
                    <a:pt x="19" y="80"/>
                    <a:pt x="23" y="79"/>
                    <a:pt x="27" y="78"/>
                  </a:cubicBezTo>
                  <a:cubicBezTo>
                    <a:pt x="31" y="89"/>
                    <a:pt x="37" y="96"/>
                    <a:pt x="43" y="96"/>
                  </a:cubicBezTo>
                  <a:cubicBezTo>
                    <a:pt x="49" y="96"/>
                    <a:pt x="55" y="89"/>
                    <a:pt x="59" y="78"/>
                  </a:cubicBezTo>
                  <a:cubicBezTo>
                    <a:pt x="63" y="79"/>
                    <a:pt x="67" y="80"/>
                    <a:pt x="71" y="80"/>
                  </a:cubicBezTo>
                  <a:cubicBezTo>
                    <a:pt x="76" y="80"/>
                    <a:pt x="80" y="78"/>
                    <a:pt x="83" y="75"/>
                  </a:cubicBezTo>
                  <a:cubicBezTo>
                    <a:pt x="86" y="71"/>
                    <a:pt x="84" y="63"/>
                    <a:pt x="79" y="55"/>
                  </a:cubicBezTo>
                  <a:cubicBezTo>
                    <a:pt x="77" y="53"/>
                    <a:pt x="75" y="50"/>
                    <a:pt x="73" y="48"/>
                  </a:cubicBezTo>
                  <a:close/>
                  <a:moveTo>
                    <a:pt x="71" y="20"/>
                  </a:moveTo>
                  <a:cubicBezTo>
                    <a:pt x="75" y="20"/>
                    <a:pt x="78" y="21"/>
                    <a:pt x="79" y="23"/>
                  </a:cubicBezTo>
                  <a:cubicBezTo>
                    <a:pt x="81" y="26"/>
                    <a:pt x="80" y="32"/>
                    <a:pt x="75" y="39"/>
                  </a:cubicBezTo>
                  <a:cubicBezTo>
                    <a:pt x="74" y="41"/>
                    <a:pt x="72" y="43"/>
                    <a:pt x="71" y="45"/>
                  </a:cubicBezTo>
                  <a:cubicBezTo>
                    <a:pt x="68" y="43"/>
                    <a:pt x="65" y="40"/>
                    <a:pt x="63" y="38"/>
                  </a:cubicBezTo>
                  <a:cubicBezTo>
                    <a:pt x="62" y="32"/>
                    <a:pt x="61" y="27"/>
                    <a:pt x="60" y="22"/>
                  </a:cubicBezTo>
                  <a:cubicBezTo>
                    <a:pt x="64" y="21"/>
                    <a:pt x="68" y="20"/>
                    <a:pt x="71" y="20"/>
                  </a:cubicBezTo>
                  <a:close/>
                  <a:moveTo>
                    <a:pt x="52" y="61"/>
                  </a:moveTo>
                  <a:cubicBezTo>
                    <a:pt x="49" y="63"/>
                    <a:pt x="46" y="65"/>
                    <a:pt x="43" y="67"/>
                  </a:cubicBezTo>
                  <a:cubicBezTo>
                    <a:pt x="40" y="65"/>
                    <a:pt x="37" y="63"/>
                    <a:pt x="34" y="61"/>
                  </a:cubicBezTo>
                  <a:cubicBezTo>
                    <a:pt x="32" y="60"/>
                    <a:pt x="29" y="58"/>
                    <a:pt x="27" y="56"/>
                  </a:cubicBezTo>
                  <a:cubicBezTo>
                    <a:pt x="27" y="54"/>
                    <a:pt x="27" y="51"/>
                    <a:pt x="27" y="48"/>
                  </a:cubicBezTo>
                  <a:cubicBezTo>
                    <a:pt x="27" y="45"/>
                    <a:pt x="27" y="42"/>
                    <a:pt x="27" y="40"/>
                  </a:cubicBezTo>
                  <a:cubicBezTo>
                    <a:pt x="29" y="38"/>
                    <a:pt x="32" y="36"/>
                    <a:pt x="34" y="35"/>
                  </a:cubicBezTo>
                  <a:cubicBezTo>
                    <a:pt x="37" y="33"/>
                    <a:pt x="40" y="31"/>
                    <a:pt x="43" y="29"/>
                  </a:cubicBezTo>
                  <a:cubicBezTo>
                    <a:pt x="46" y="31"/>
                    <a:pt x="49" y="33"/>
                    <a:pt x="52" y="35"/>
                  </a:cubicBezTo>
                  <a:cubicBezTo>
                    <a:pt x="54" y="36"/>
                    <a:pt x="57" y="38"/>
                    <a:pt x="59" y="40"/>
                  </a:cubicBezTo>
                  <a:cubicBezTo>
                    <a:pt x="59" y="42"/>
                    <a:pt x="59" y="45"/>
                    <a:pt x="59" y="48"/>
                  </a:cubicBezTo>
                  <a:cubicBezTo>
                    <a:pt x="59" y="51"/>
                    <a:pt x="59" y="54"/>
                    <a:pt x="59" y="56"/>
                  </a:cubicBezTo>
                  <a:cubicBezTo>
                    <a:pt x="57" y="58"/>
                    <a:pt x="54" y="60"/>
                    <a:pt x="52" y="61"/>
                  </a:cubicBezTo>
                  <a:close/>
                  <a:moveTo>
                    <a:pt x="58" y="62"/>
                  </a:moveTo>
                  <a:cubicBezTo>
                    <a:pt x="58" y="66"/>
                    <a:pt x="57" y="69"/>
                    <a:pt x="56" y="73"/>
                  </a:cubicBezTo>
                  <a:cubicBezTo>
                    <a:pt x="53" y="72"/>
                    <a:pt x="50" y="71"/>
                    <a:pt x="47" y="69"/>
                  </a:cubicBezTo>
                  <a:cubicBezTo>
                    <a:pt x="50" y="68"/>
                    <a:pt x="52" y="66"/>
                    <a:pt x="54" y="64"/>
                  </a:cubicBezTo>
                  <a:cubicBezTo>
                    <a:pt x="56" y="64"/>
                    <a:pt x="57" y="63"/>
                    <a:pt x="58" y="62"/>
                  </a:cubicBezTo>
                  <a:close/>
                  <a:moveTo>
                    <a:pt x="39" y="69"/>
                  </a:moveTo>
                  <a:cubicBezTo>
                    <a:pt x="36" y="71"/>
                    <a:pt x="33" y="72"/>
                    <a:pt x="30" y="73"/>
                  </a:cubicBezTo>
                  <a:cubicBezTo>
                    <a:pt x="29" y="69"/>
                    <a:pt x="28" y="66"/>
                    <a:pt x="28" y="62"/>
                  </a:cubicBezTo>
                  <a:cubicBezTo>
                    <a:pt x="29" y="63"/>
                    <a:pt x="30" y="64"/>
                    <a:pt x="32" y="64"/>
                  </a:cubicBezTo>
                  <a:cubicBezTo>
                    <a:pt x="34" y="66"/>
                    <a:pt x="36" y="68"/>
                    <a:pt x="39" y="69"/>
                  </a:cubicBezTo>
                  <a:close/>
                  <a:moveTo>
                    <a:pt x="23" y="53"/>
                  </a:moveTo>
                  <a:cubicBezTo>
                    <a:pt x="21" y="51"/>
                    <a:pt x="20" y="50"/>
                    <a:pt x="18" y="48"/>
                  </a:cubicBezTo>
                  <a:cubicBezTo>
                    <a:pt x="20" y="46"/>
                    <a:pt x="21" y="45"/>
                    <a:pt x="23" y="43"/>
                  </a:cubicBezTo>
                  <a:cubicBezTo>
                    <a:pt x="23" y="45"/>
                    <a:pt x="23" y="46"/>
                    <a:pt x="23" y="48"/>
                  </a:cubicBezTo>
                  <a:cubicBezTo>
                    <a:pt x="23" y="50"/>
                    <a:pt x="23" y="51"/>
                    <a:pt x="23" y="53"/>
                  </a:cubicBezTo>
                  <a:close/>
                  <a:moveTo>
                    <a:pt x="28" y="34"/>
                  </a:moveTo>
                  <a:cubicBezTo>
                    <a:pt x="28" y="30"/>
                    <a:pt x="29" y="27"/>
                    <a:pt x="30" y="23"/>
                  </a:cubicBezTo>
                  <a:cubicBezTo>
                    <a:pt x="33" y="24"/>
                    <a:pt x="36" y="25"/>
                    <a:pt x="39" y="27"/>
                  </a:cubicBezTo>
                  <a:cubicBezTo>
                    <a:pt x="36" y="28"/>
                    <a:pt x="34" y="30"/>
                    <a:pt x="32" y="32"/>
                  </a:cubicBezTo>
                  <a:cubicBezTo>
                    <a:pt x="30" y="32"/>
                    <a:pt x="29" y="33"/>
                    <a:pt x="28" y="34"/>
                  </a:cubicBezTo>
                  <a:close/>
                  <a:moveTo>
                    <a:pt x="47" y="27"/>
                  </a:moveTo>
                  <a:cubicBezTo>
                    <a:pt x="50" y="25"/>
                    <a:pt x="53" y="24"/>
                    <a:pt x="56" y="23"/>
                  </a:cubicBezTo>
                  <a:cubicBezTo>
                    <a:pt x="57" y="27"/>
                    <a:pt x="58" y="30"/>
                    <a:pt x="58" y="34"/>
                  </a:cubicBezTo>
                  <a:cubicBezTo>
                    <a:pt x="57" y="33"/>
                    <a:pt x="56" y="32"/>
                    <a:pt x="54" y="32"/>
                  </a:cubicBezTo>
                  <a:cubicBezTo>
                    <a:pt x="52" y="30"/>
                    <a:pt x="50" y="28"/>
                    <a:pt x="47" y="27"/>
                  </a:cubicBezTo>
                  <a:close/>
                  <a:moveTo>
                    <a:pt x="63" y="43"/>
                  </a:moveTo>
                  <a:cubicBezTo>
                    <a:pt x="65" y="45"/>
                    <a:pt x="66" y="46"/>
                    <a:pt x="68" y="48"/>
                  </a:cubicBezTo>
                  <a:cubicBezTo>
                    <a:pt x="66" y="50"/>
                    <a:pt x="65" y="51"/>
                    <a:pt x="63" y="53"/>
                  </a:cubicBezTo>
                  <a:cubicBezTo>
                    <a:pt x="63" y="51"/>
                    <a:pt x="63" y="50"/>
                    <a:pt x="63" y="48"/>
                  </a:cubicBezTo>
                  <a:cubicBezTo>
                    <a:pt x="63" y="46"/>
                    <a:pt x="63" y="45"/>
                    <a:pt x="63" y="43"/>
                  </a:cubicBezTo>
                  <a:close/>
                  <a:moveTo>
                    <a:pt x="43" y="4"/>
                  </a:moveTo>
                  <a:cubicBezTo>
                    <a:pt x="47" y="4"/>
                    <a:pt x="52" y="10"/>
                    <a:pt x="55" y="19"/>
                  </a:cubicBezTo>
                  <a:cubicBezTo>
                    <a:pt x="51" y="21"/>
                    <a:pt x="47" y="22"/>
                    <a:pt x="43" y="25"/>
                  </a:cubicBezTo>
                  <a:cubicBezTo>
                    <a:pt x="39" y="22"/>
                    <a:pt x="35" y="21"/>
                    <a:pt x="31" y="19"/>
                  </a:cubicBezTo>
                  <a:cubicBezTo>
                    <a:pt x="34" y="10"/>
                    <a:pt x="39" y="4"/>
                    <a:pt x="43" y="4"/>
                  </a:cubicBezTo>
                  <a:close/>
                  <a:moveTo>
                    <a:pt x="11" y="39"/>
                  </a:moveTo>
                  <a:cubicBezTo>
                    <a:pt x="6" y="32"/>
                    <a:pt x="5" y="26"/>
                    <a:pt x="7" y="23"/>
                  </a:cubicBezTo>
                  <a:cubicBezTo>
                    <a:pt x="9" y="20"/>
                    <a:pt x="16" y="19"/>
                    <a:pt x="26" y="22"/>
                  </a:cubicBezTo>
                  <a:cubicBezTo>
                    <a:pt x="25" y="27"/>
                    <a:pt x="24" y="32"/>
                    <a:pt x="23" y="38"/>
                  </a:cubicBezTo>
                  <a:cubicBezTo>
                    <a:pt x="21" y="40"/>
                    <a:pt x="18" y="43"/>
                    <a:pt x="15" y="45"/>
                  </a:cubicBezTo>
                  <a:cubicBezTo>
                    <a:pt x="14" y="43"/>
                    <a:pt x="12" y="41"/>
                    <a:pt x="11" y="39"/>
                  </a:cubicBezTo>
                  <a:close/>
                  <a:moveTo>
                    <a:pt x="7" y="73"/>
                  </a:moveTo>
                  <a:cubicBezTo>
                    <a:pt x="5" y="70"/>
                    <a:pt x="6" y="64"/>
                    <a:pt x="11" y="57"/>
                  </a:cubicBezTo>
                  <a:cubicBezTo>
                    <a:pt x="12" y="55"/>
                    <a:pt x="14" y="53"/>
                    <a:pt x="15" y="51"/>
                  </a:cubicBezTo>
                  <a:cubicBezTo>
                    <a:pt x="18" y="53"/>
                    <a:pt x="21" y="56"/>
                    <a:pt x="23" y="58"/>
                  </a:cubicBezTo>
                  <a:cubicBezTo>
                    <a:pt x="24" y="64"/>
                    <a:pt x="25" y="69"/>
                    <a:pt x="26" y="74"/>
                  </a:cubicBezTo>
                  <a:cubicBezTo>
                    <a:pt x="16" y="77"/>
                    <a:pt x="9" y="76"/>
                    <a:pt x="7" y="73"/>
                  </a:cubicBezTo>
                  <a:close/>
                  <a:moveTo>
                    <a:pt x="43" y="92"/>
                  </a:moveTo>
                  <a:cubicBezTo>
                    <a:pt x="39" y="92"/>
                    <a:pt x="34" y="86"/>
                    <a:pt x="31" y="77"/>
                  </a:cubicBezTo>
                  <a:cubicBezTo>
                    <a:pt x="35" y="75"/>
                    <a:pt x="39" y="74"/>
                    <a:pt x="43" y="71"/>
                  </a:cubicBezTo>
                  <a:cubicBezTo>
                    <a:pt x="47" y="74"/>
                    <a:pt x="51" y="75"/>
                    <a:pt x="55" y="77"/>
                  </a:cubicBezTo>
                  <a:cubicBezTo>
                    <a:pt x="52" y="86"/>
                    <a:pt x="47" y="92"/>
                    <a:pt x="43" y="92"/>
                  </a:cubicBezTo>
                  <a:close/>
                  <a:moveTo>
                    <a:pt x="79" y="73"/>
                  </a:moveTo>
                  <a:cubicBezTo>
                    <a:pt x="77" y="76"/>
                    <a:pt x="70" y="77"/>
                    <a:pt x="60" y="74"/>
                  </a:cubicBezTo>
                  <a:cubicBezTo>
                    <a:pt x="61" y="69"/>
                    <a:pt x="62" y="64"/>
                    <a:pt x="63" y="58"/>
                  </a:cubicBezTo>
                  <a:cubicBezTo>
                    <a:pt x="65" y="56"/>
                    <a:pt x="68" y="53"/>
                    <a:pt x="71" y="51"/>
                  </a:cubicBezTo>
                  <a:cubicBezTo>
                    <a:pt x="72" y="53"/>
                    <a:pt x="74" y="55"/>
                    <a:pt x="75" y="57"/>
                  </a:cubicBezTo>
                  <a:cubicBezTo>
                    <a:pt x="80" y="64"/>
                    <a:pt x="81" y="70"/>
                    <a:pt x="79" y="73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900">
                <a:solidFill>
                  <a:srgbClr val="373737"/>
                </a:solidFill>
              </a:endParaRPr>
            </a:p>
          </p:txBody>
        </p:sp>
        <p:sp>
          <p:nvSpPr>
            <p:cNvPr id="221" name="Freeform 15">
              <a:extLst>
                <a:ext uri="{FF2B5EF4-FFF2-40B4-BE49-F238E27FC236}">
                  <a16:creationId xmlns:a16="http://schemas.microsoft.com/office/drawing/2014/main" id="{BA8FBC84-52F2-5A08-BE54-6473D8B6AD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46508" y="1802929"/>
              <a:ext cx="50219" cy="50998"/>
            </a:xfrm>
            <a:custGeom>
              <a:avLst/>
              <a:gdLst>
                <a:gd name="T0" fmla="*/ 10 w 20"/>
                <a:gd name="T1" fmla="*/ 0 h 20"/>
                <a:gd name="T2" fmla="*/ 0 w 20"/>
                <a:gd name="T3" fmla="*/ 10 h 20"/>
                <a:gd name="T4" fmla="*/ 10 w 20"/>
                <a:gd name="T5" fmla="*/ 20 h 20"/>
                <a:gd name="T6" fmla="*/ 20 w 20"/>
                <a:gd name="T7" fmla="*/ 10 h 20"/>
                <a:gd name="T8" fmla="*/ 10 w 20"/>
                <a:gd name="T9" fmla="*/ 0 h 20"/>
                <a:gd name="T10" fmla="*/ 10 w 20"/>
                <a:gd name="T11" fmla="*/ 16 h 20"/>
                <a:gd name="T12" fmla="*/ 4 w 20"/>
                <a:gd name="T13" fmla="*/ 10 h 20"/>
                <a:gd name="T14" fmla="*/ 10 w 20"/>
                <a:gd name="T15" fmla="*/ 4 h 20"/>
                <a:gd name="T16" fmla="*/ 16 w 20"/>
                <a:gd name="T17" fmla="*/ 10 h 20"/>
                <a:gd name="T18" fmla="*/ 10 w 20"/>
                <a:gd name="T1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0"/>
                  </a:move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0"/>
                    <a:pt x="10" y="20"/>
                  </a:cubicBezTo>
                  <a:cubicBezTo>
                    <a:pt x="16" y="20"/>
                    <a:pt x="20" y="16"/>
                    <a:pt x="20" y="10"/>
                  </a:cubicBezTo>
                  <a:cubicBezTo>
                    <a:pt x="20" y="4"/>
                    <a:pt x="16" y="0"/>
                    <a:pt x="10" y="0"/>
                  </a:cubicBezTo>
                  <a:close/>
                  <a:moveTo>
                    <a:pt x="10" y="16"/>
                  </a:moveTo>
                  <a:cubicBezTo>
                    <a:pt x="7" y="16"/>
                    <a:pt x="4" y="13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cubicBezTo>
                    <a:pt x="13" y="4"/>
                    <a:pt x="16" y="7"/>
                    <a:pt x="16" y="10"/>
                  </a:cubicBezTo>
                  <a:cubicBezTo>
                    <a:pt x="16" y="13"/>
                    <a:pt x="13" y="16"/>
                    <a:pt x="10" y="1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900">
                <a:solidFill>
                  <a:srgbClr val="373737"/>
                </a:solidFill>
              </a:endParaRPr>
            </a:p>
          </p:txBody>
        </p:sp>
      </p:grpSp>
      <p:grpSp>
        <p:nvGrpSpPr>
          <p:cNvPr id="223" name="Group 54">
            <a:extLst>
              <a:ext uri="{FF2B5EF4-FFF2-40B4-BE49-F238E27FC236}">
                <a16:creationId xmlns:a16="http://schemas.microsoft.com/office/drawing/2014/main" id="{581C97CC-363D-8052-A037-B6DEC1FFFA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458457" y="1702431"/>
            <a:ext cx="282064" cy="252002"/>
            <a:chOff x="6718" y="681"/>
            <a:chExt cx="441" cy="394"/>
          </a:xfrm>
          <a:solidFill>
            <a:schemeClr val="bg1"/>
          </a:solidFill>
        </p:grpSpPr>
        <p:sp>
          <p:nvSpPr>
            <p:cNvPr id="225" name="Freeform 55">
              <a:extLst>
                <a:ext uri="{FF2B5EF4-FFF2-40B4-BE49-F238E27FC236}">
                  <a16:creationId xmlns:a16="http://schemas.microsoft.com/office/drawing/2014/main" id="{F52869DF-7F58-101E-31A3-D0411AA5B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3" y="681"/>
              <a:ext cx="110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7" y="72"/>
                    <a:pt x="0" y="55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50" y="60"/>
                    <a:pt x="60" y="49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26" name="Freeform 56">
              <a:extLst>
                <a:ext uri="{FF2B5EF4-FFF2-40B4-BE49-F238E27FC236}">
                  <a16:creationId xmlns:a16="http://schemas.microsoft.com/office/drawing/2014/main" id="{D9522C0F-9FB8-170A-8C16-758599FCE7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0" y="717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27" name="Freeform 57">
              <a:extLst>
                <a:ext uri="{FF2B5EF4-FFF2-40B4-BE49-F238E27FC236}">
                  <a16:creationId xmlns:a16="http://schemas.microsoft.com/office/drawing/2014/main" id="{D6A3A985-B27B-68FA-ECB9-7CC4F58A97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3" y="717"/>
              <a:ext cx="73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28" name="Freeform 58">
              <a:extLst>
                <a:ext uri="{FF2B5EF4-FFF2-40B4-BE49-F238E27FC236}">
                  <a16:creationId xmlns:a16="http://schemas.microsoft.com/office/drawing/2014/main" id="{77B5DD6B-809E-10CA-F97E-0A6C5373F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8" y="989"/>
              <a:ext cx="441" cy="86"/>
            </a:xfrm>
            <a:custGeom>
              <a:avLst/>
              <a:gdLst>
                <a:gd name="T0" fmla="*/ 144 w 288"/>
                <a:gd name="T1" fmla="*/ 58 h 58"/>
                <a:gd name="T2" fmla="*/ 0 w 288"/>
                <a:gd name="T3" fmla="*/ 28 h 58"/>
                <a:gd name="T4" fmla="*/ 83 w 288"/>
                <a:gd name="T5" fmla="*/ 0 h 58"/>
                <a:gd name="T6" fmla="*/ 90 w 288"/>
                <a:gd name="T7" fmla="*/ 6 h 58"/>
                <a:gd name="T8" fmla="*/ 84 w 288"/>
                <a:gd name="T9" fmla="*/ 12 h 58"/>
                <a:gd name="T10" fmla="*/ 13 w 288"/>
                <a:gd name="T11" fmla="*/ 28 h 58"/>
                <a:gd name="T12" fmla="*/ 144 w 288"/>
                <a:gd name="T13" fmla="*/ 46 h 58"/>
                <a:gd name="T14" fmla="*/ 276 w 288"/>
                <a:gd name="T15" fmla="*/ 28 h 58"/>
                <a:gd name="T16" fmla="*/ 204 w 288"/>
                <a:gd name="T17" fmla="*/ 12 h 58"/>
                <a:gd name="T18" fmla="*/ 198 w 288"/>
                <a:gd name="T19" fmla="*/ 6 h 58"/>
                <a:gd name="T20" fmla="*/ 205 w 288"/>
                <a:gd name="T21" fmla="*/ 0 h 58"/>
                <a:gd name="T22" fmla="*/ 288 w 288"/>
                <a:gd name="T23" fmla="*/ 28 h 58"/>
                <a:gd name="T24" fmla="*/ 144 w 288"/>
                <a:gd name="T25" fmla="*/ 58 h 58"/>
                <a:gd name="T26" fmla="*/ 277 w 288"/>
                <a:gd name="T27" fmla="*/ 28 h 58"/>
                <a:gd name="T28" fmla="*/ 277 w 288"/>
                <a:gd name="T29" fmla="*/ 2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8">
                  <a:moveTo>
                    <a:pt x="144" y="58"/>
                  </a:moveTo>
                  <a:cubicBezTo>
                    <a:pt x="130" y="58"/>
                    <a:pt x="0" y="57"/>
                    <a:pt x="0" y="28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90" y="2"/>
                    <a:pt x="90" y="6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8"/>
                  </a:cubicBezTo>
                  <a:cubicBezTo>
                    <a:pt x="19" y="34"/>
                    <a:pt x="65" y="46"/>
                    <a:pt x="144" y="46"/>
                  </a:cubicBezTo>
                  <a:cubicBezTo>
                    <a:pt x="223" y="46"/>
                    <a:pt x="270" y="34"/>
                    <a:pt x="276" y="28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1" y="12"/>
                    <a:pt x="198" y="9"/>
                    <a:pt x="198" y="6"/>
                  </a:cubicBezTo>
                  <a:cubicBezTo>
                    <a:pt x="199" y="2"/>
                    <a:pt x="202" y="0"/>
                    <a:pt x="205" y="0"/>
                  </a:cubicBezTo>
                  <a:cubicBezTo>
                    <a:pt x="260" y="5"/>
                    <a:pt x="288" y="14"/>
                    <a:pt x="288" y="28"/>
                  </a:cubicBezTo>
                  <a:cubicBezTo>
                    <a:pt x="288" y="57"/>
                    <a:pt x="159" y="58"/>
                    <a:pt x="144" y="58"/>
                  </a:cubicBezTo>
                  <a:close/>
                  <a:moveTo>
                    <a:pt x="277" y="28"/>
                  </a:moveTo>
                  <a:cubicBezTo>
                    <a:pt x="277" y="28"/>
                    <a:pt x="277" y="28"/>
                    <a:pt x="27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29" name="Freeform 59">
              <a:extLst>
                <a:ext uri="{FF2B5EF4-FFF2-40B4-BE49-F238E27FC236}">
                  <a16:creationId xmlns:a16="http://schemas.microsoft.com/office/drawing/2014/main" id="{C890EABD-0269-9468-C48A-403CC33205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3" y="806"/>
              <a:ext cx="110" cy="180"/>
            </a:xfrm>
            <a:custGeom>
              <a:avLst/>
              <a:gdLst>
                <a:gd name="T0" fmla="*/ 66 w 72"/>
                <a:gd name="T1" fmla="*/ 120 h 120"/>
                <a:gd name="T2" fmla="*/ 6 w 72"/>
                <a:gd name="T3" fmla="*/ 120 h 120"/>
                <a:gd name="T4" fmla="*/ 0 w 72"/>
                <a:gd name="T5" fmla="*/ 114 h 120"/>
                <a:gd name="T6" fmla="*/ 0 w 72"/>
                <a:gd name="T7" fmla="*/ 36 h 120"/>
                <a:gd name="T8" fmla="*/ 36 w 72"/>
                <a:gd name="T9" fmla="*/ 0 h 120"/>
                <a:gd name="T10" fmla="*/ 72 w 72"/>
                <a:gd name="T11" fmla="*/ 36 h 120"/>
                <a:gd name="T12" fmla="*/ 72 w 72"/>
                <a:gd name="T13" fmla="*/ 114 h 120"/>
                <a:gd name="T14" fmla="*/ 66 w 72"/>
                <a:gd name="T15" fmla="*/ 120 h 120"/>
                <a:gd name="T16" fmla="*/ 12 w 72"/>
                <a:gd name="T17" fmla="*/ 108 h 120"/>
                <a:gd name="T18" fmla="*/ 60 w 72"/>
                <a:gd name="T19" fmla="*/ 108 h 120"/>
                <a:gd name="T20" fmla="*/ 60 w 72"/>
                <a:gd name="T21" fmla="*/ 36 h 120"/>
                <a:gd name="T22" fmla="*/ 36 w 72"/>
                <a:gd name="T23" fmla="*/ 12 h 120"/>
                <a:gd name="T24" fmla="*/ 12 w 72"/>
                <a:gd name="T25" fmla="*/ 36 h 120"/>
                <a:gd name="T26" fmla="*/ 12 w 72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20">
                  <a:moveTo>
                    <a:pt x="6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3" y="120"/>
                    <a:pt x="0" y="117"/>
                    <a:pt x="0" y="11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70" y="120"/>
                    <a:pt x="66" y="120"/>
                  </a:cubicBezTo>
                  <a:close/>
                  <a:moveTo>
                    <a:pt x="12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ubicBezTo>
                    <a:pt x="23" y="12"/>
                    <a:pt x="12" y="22"/>
                    <a:pt x="12" y="36"/>
                  </a:cubicBezTo>
                  <a:lnTo>
                    <a:pt x="12" y="1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30" name="Freeform 60">
              <a:extLst>
                <a:ext uri="{FF2B5EF4-FFF2-40B4-BE49-F238E27FC236}">
                  <a16:creationId xmlns:a16="http://schemas.microsoft.com/office/drawing/2014/main" id="{D59C5876-7283-F345-2FF0-0332A84994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0" y="806"/>
              <a:ext cx="74" cy="144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  <p:sp>
          <p:nvSpPr>
            <p:cNvPr id="231" name="Freeform 61">
              <a:extLst>
                <a:ext uri="{FF2B5EF4-FFF2-40B4-BE49-F238E27FC236}">
                  <a16:creationId xmlns:a16="http://schemas.microsoft.com/office/drawing/2014/main" id="{B9B090DD-7548-15DE-4593-95F696931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3" y="806"/>
              <a:ext cx="73" cy="144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73737"/>
                </a:solidFill>
              </a:endParaRPr>
            </a:p>
          </p:txBody>
        </p:sp>
      </p:grpSp>
      <p:grpSp>
        <p:nvGrpSpPr>
          <p:cNvPr id="234" name="Group 49">
            <a:extLst>
              <a:ext uri="{FF2B5EF4-FFF2-40B4-BE49-F238E27FC236}">
                <a16:creationId xmlns:a16="http://schemas.microsoft.com/office/drawing/2014/main" id="{96EF269B-A7C9-808F-CE47-077206C115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57801" y="1702427"/>
            <a:ext cx="252593" cy="252000"/>
            <a:chOff x="1374" y="1718"/>
            <a:chExt cx="427" cy="426"/>
          </a:xfrm>
          <a:solidFill>
            <a:schemeClr val="bg1"/>
          </a:solidFill>
        </p:grpSpPr>
        <p:sp>
          <p:nvSpPr>
            <p:cNvPr id="235" name="Freeform 50">
              <a:extLst>
                <a:ext uri="{FF2B5EF4-FFF2-40B4-BE49-F238E27FC236}">
                  <a16:creationId xmlns:a16="http://schemas.microsoft.com/office/drawing/2014/main" id="{C43FA4A4-5FFB-5F82-B789-84EBDE7448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4" y="1718"/>
              <a:ext cx="427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144 w 288"/>
                <a:gd name="T9" fmla="*/ 288 h 288"/>
                <a:gd name="T10" fmla="*/ 144 w 288"/>
                <a:gd name="T11" fmla="*/ 12 h 288"/>
                <a:gd name="T12" fmla="*/ 12 w 288"/>
                <a:gd name="T13" fmla="*/ 144 h 288"/>
                <a:gd name="T14" fmla="*/ 144 w 288"/>
                <a:gd name="T15" fmla="*/ 276 h 288"/>
                <a:gd name="T16" fmla="*/ 276 w 288"/>
                <a:gd name="T17" fmla="*/ 144 h 288"/>
                <a:gd name="T18" fmla="*/ 144 w 288"/>
                <a:gd name="T1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4" y="288"/>
                    <a:pt x="0" y="223"/>
                    <a:pt x="0" y="144"/>
                  </a:cubicBezTo>
                  <a:cubicBezTo>
                    <a:pt x="0" y="64"/>
                    <a:pt x="64" y="0"/>
                    <a:pt x="144" y="0"/>
                  </a:cubicBezTo>
                  <a:cubicBezTo>
                    <a:pt x="223" y="0"/>
                    <a:pt x="288" y="64"/>
                    <a:pt x="288" y="144"/>
                  </a:cubicBezTo>
                  <a:cubicBezTo>
                    <a:pt x="288" y="223"/>
                    <a:pt x="223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71"/>
                    <a:pt x="12" y="144"/>
                  </a:cubicBezTo>
                  <a:cubicBezTo>
                    <a:pt x="12" y="216"/>
                    <a:pt x="71" y="276"/>
                    <a:pt x="144" y="276"/>
                  </a:cubicBezTo>
                  <a:cubicBezTo>
                    <a:pt x="217" y="276"/>
                    <a:pt x="276" y="216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373737"/>
                </a:solidFill>
              </a:endParaRPr>
            </a:p>
          </p:txBody>
        </p:sp>
        <p:sp>
          <p:nvSpPr>
            <p:cNvPr id="236" name="Freeform 51">
              <a:extLst>
                <a:ext uri="{FF2B5EF4-FFF2-40B4-BE49-F238E27FC236}">
                  <a16:creationId xmlns:a16="http://schemas.microsoft.com/office/drawing/2014/main" id="{B106C518-A5E8-4803-A706-8403EF95C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0" y="1824"/>
              <a:ext cx="126" cy="214"/>
            </a:xfrm>
            <a:custGeom>
              <a:avLst/>
              <a:gdLst>
                <a:gd name="T0" fmla="*/ 78 w 85"/>
                <a:gd name="T1" fmla="*/ 144 h 144"/>
                <a:gd name="T2" fmla="*/ 74 w 85"/>
                <a:gd name="T3" fmla="*/ 142 h 144"/>
                <a:gd name="T4" fmla="*/ 2 w 85"/>
                <a:gd name="T5" fmla="*/ 76 h 144"/>
                <a:gd name="T6" fmla="*/ 0 w 85"/>
                <a:gd name="T7" fmla="*/ 72 h 144"/>
                <a:gd name="T8" fmla="*/ 0 w 85"/>
                <a:gd name="T9" fmla="*/ 6 h 144"/>
                <a:gd name="T10" fmla="*/ 6 w 85"/>
                <a:gd name="T11" fmla="*/ 0 h 144"/>
                <a:gd name="T12" fmla="*/ 12 w 85"/>
                <a:gd name="T13" fmla="*/ 6 h 144"/>
                <a:gd name="T14" fmla="*/ 12 w 85"/>
                <a:gd name="T15" fmla="*/ 69 h 144"/>
                <a:gd name="T16" fmla="*/ 82 w 85"/>
                <a:gd name="T17" fmla="*/ 133 h 144"/>
                <a:gd name="T18" fmla="*/ 82 w 85"/>
                <a:gd name="T19" fmla="*/ 142 h 144"/>
                <a:gd name="T20" fmla="*/ 78 w 85"/>
                <a:gd name="T2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44">
                  <a:moveTo>
                    <a:pt x="78" y="144"/>
                  </a:moveTo>
                  <a:cubicBezTo>
                    <a:pt x="76" y="144"/>
                    <a:pt x="75" y="143"/>
                    <a:pt x="74" y="142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1" y="75"/>
                    <a:pt x="0" y="73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82" y="133"/>
                    <a:pt x="82" y="133"/>
                    <a:pt x="82" y="133"/>
                  </a:cubicBezTo>
                  <a:cubicBezTo>
                    <a:pt x="84" y="135"/>
                    <a:pt x="85" y="139"/>
                    <a:pt x="82" y="142"/>
                  </a:cubicBezTo>
                  <a:cubicBezTo>
                    <a:pt x="81" y="143"/>
                    <a:pt x="79" y="144"/>
                    <a:pt x="78" y="1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373737"/>
                </a:solidFill>
              </a:endParaRPr>
            </a:p>
          </p:txBody>
        </p:sp>
      </p:grpSp>
      <p:sp>
        <p:nvSpPr>
          <p:cNvPr id="246" name="Inhaltsplatzhalter 4">
            <a:extLst>
              <a:ext uri="{FF2B5EF4-FFF2-40B4-BE49-F238E27FC236}">
                <a16:creationId xmlns:a16="http://schemas.microsoft.com/office/drawing/2014/main" id="{0111E7D6-C3CF-BE79-FA57-37813F4D785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88475" y="2964922"/>
            <a:ext cx="2700000" cy="317307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rgbClr val="7192C7"/>
              </a:buClr>
              <a:defRPr sz="7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8"/>
            <a:endParaRPr lang="de-DE"/>
          </a:p>
        </p:txBody>
      </p:sp>
      <p:sp>
        <p:nvSpPr>
          <p:cNvPr id="247" name="Inhaltsplatzhalter 4">
            <a:extLst>
              <a:ext uri="{FF2B5EF4-FFF2-40B4-BE49-F238E27FC236}">
                <a16:creationId xmlns:a16="http://schemas.microsoft.com/office/drawing/2014/main" id="{653057E7-22F9-86D9-B605-A795406FCC54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707432" y="2964922"/>
            <a:ext cx="3005294" cy="317307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rgbClr val="7192C7"/>
              </a:buClr>
              <a:defRPr sz="7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8"/>
            <a:endParaRPr lang="de-DE"/>
          </a:p>
        </p:txBody>
      </p:sp>
      <p:cxnSp>
        <p:nvCxnSpPr>
          <p:cNvPr id="248" name="Straight Connector 22">
            <a:extLst>
              <a:ext uri="{FF2B5EF4-FFF2-40B4-BE49-F238E27FC236}">
                <a16:creationId xmlns:a16="http://schemas.microsoft.com/office/drawing/2014/main" id="{7CC30D84-1E3D-EC2D-33DE-511DE8F23B15}"/>
              </a:ext>
            </a:extLst>
          </p:cNvPr>
          <p:cNvCxnSpPr/>
          <p:nvPr/>
        </p:nvCxnSpPr>
        <p:spPr>
          <a:xfrm>
            <a:off x="9582434" y="1672855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3">
            <a:extLst>
              <a:ext uri="{FF2B5EF4-FFF2-40B4-BE49-F238E27FC236}">
                <a16:creationId xmlns:a16="http://schemas.microsoft.com/office/drawing/2014/main" id="{9AA65630-B3E2-B9F4-55AA-72DB2A953044}"/>
              </a:ext>
            </a:extLst>
          </p:cNvPr>
          <p:cNvCxnSpPr/>
          <p:nvPr/>
        </p:nvCxnSpPr>
        <p:spPr>
          <a:xfrm>
            <a:off x="7016166" y="1684427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">
            <a:extLst>
              <a:ext uri="{FF2B5EF4-FFF2-40B4-BE49-F238E27FC236}">
                <a16:creationId xmlns:a16="http://schemas.microsoft.com/office/drawing/2014/main" id="{31961AFE-E1BF-BC7B-25B3-2180D6138CB0}"/>
              </a:ext>
            </a:extLst>
          </p:cNvPr>
          <p:cNvCxnSpPr/>
          <p:nvPr/>
        </p:nvCxnSpPr>
        <p:spPr>
          <a:xfrm>
            <a:off x="4715510" y="1684427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8702168-7311-060B-0D3A-25A9452FB674}"/>
              </a:ext>
            </a:extLst>
          </p:cNvPr>
          <p:cNvGrpSpPr/>
          <p:nvPr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F39201A7-8696-AD95-0E3B-EBED06C9F14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46A704E6-B221-9DB5-C484-794E974F4FD3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8C9A13A4-9489-DBCC-974E-D82FE439352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45D8400D-1ECD-B52B-0835-C2201BBCAE71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2A5F1A36-1861-7F1D-AAE4-F4E02ACEA2E2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2">
              <a:extLst>
                <a:ext uri="{FF2B5EF4-FFF2-40B4-BE49-F238E27FC236}">
                  <a16:creationId xmlns:a16="http://schemas.microsoft.com/office/drawing/2014/main" id="{47958642-9C3E-5C76-7A92-FAB0E72423F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3">
              <a:extLst>
                <a:ext uri="{FF2B5EF4-FFF2-40B4-BE49-F238E27FC236}">
                  <a16:creationId xmlns:a16="http://schemas.microsoft.com/office/drawing/2014/main" id="{9215827F-8521-46BD-B127-F95C1F3E8ACF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FA0404F2-F9A4-815F-04D6-40FA937CFD8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0" y="1471857"/>
            <a:ext cx="950014" cy="685756"/>
          </a:xfrm>
          <a:solidFill>
            <a:schemeClr val="accent1"/>
          </a:solidFill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4400" cap="all" spc="4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897E55EE-C6A9-29B9-8072-9939ABCC44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5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spcAft>
                <a:spcPts val="1200"/>
              </a:spcAft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11254294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D8045785-A786-2965-D7DA-37E18DF05E69}"/>
              </a:ext>
            </a:extLst>
          </p:cNvPr>
          <p:cNvSpPr/>
          <p:nvPr userDrawn="1"/>
        </p:nvSpPr>
        <p:spPr>
          <a:xfrm>
            <a:off x="0" y="0"/>
            <a:ext cx="303047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EBF020B0-4C1A-A85A-C615-DE166A33657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88462" y="4014028"/>
            <a:ext cx="2418103" cy="164543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10" name="Rechteck: abgerundete Ecken 11">
            <a:extLst>
              <a:ext uri="{FF2B5EF4-FFF2-40B4-BE49-F238E27FC236}">
                <a16:creationId xmlns:a16="http://schemas.microsoft.com/office/drawing/2014/main" id="{5558FB73-57C5-8116-220A-D3AD548EDC5B}"/>
              </a:ext>
            </a:extLst>
          </p:cNvPr>
          <p:cNvSpPr>
            <a:spLocks/>
          </p:cNvSpPr>
          <p:nvPr userDrawn="1"/>
        </p:nvSpPr>
        <p:spPr>
          <a:xfrm>
            <a:off x="3247391" y="1187255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>
                <a:solidFill>
                  <a:srgbClr val="7DA0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  <a:endParaRPr lang="de-DE" sz="1400" b="1" cap="all" spc="0" baseline="0">
              <a:solidFill>
                <a:srgbClr val="7DA0D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6728443" y="1190820"/>
            <a:ext cx="3292312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rgbClr val="7DA0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468375" y="3463942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Inhaltsplatzhalter 4">
            <a:extLst>
              <a:ext uri="{FF2B5EF4-FFF2-40B4-BE49-F238E27FC236}">
                <a16:creationId xmlns:a16="http://schemas.microsoft.com/office/drawing/2014/main" id="{09DD51D7-4D1E-C3DA-6565-A742DD620C2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7391" y="1665287"/>
            <a:ext cx="2848609" cy="4455579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8"/>
            <a:endParaRPr lang="de-DE"/>
          </a:p>
        </p:txBody>
      </p: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9BB58FD0-B73B-E71C-D22B-ABF80E57F970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28442" y="1665287"/>
            <a:ext cx="4984285" cy="4455580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8"/>
            <a:endParaRPr lang="de-DE"/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20000"/>
            <a:ext cx="2427766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430925" y="3309736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1" name="Datumsplatzhalter 2">
            <a:extLst>
              <a:ext uri="{FF2B5EF4-FFF2-40B4-BE49-F238E27FC236}">
                <a16:creationId xmlns:a16="http://schemas.microsoft.com/office/drawing/2014/main" id="{2FC16F5E-064F-C739-7C21-EE2817583E21}"/>
              </a:ext>
            </a:extLst>
          </p:cNvPr>
          <p:cNvSpPr txBox="1">
            <a:spLocks/>
          </p:cNvSpPr>
          <p:nvPr userDrawn="1"/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DE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A97715-E243-44FB-A4DF-8B24568E8B84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36" name="Textplatzhalter 17">
            <a:extLst>
              <a:ext uri="{FF2B5EF4-FFF2-40B4-BE49-F238E27FC236}">
                <a16:creationId xmlns:a16="http://schemas.microsoft.com/office/drawing/2014/main" id="{F5B36707-3284-22AF-1836-4398757E46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7242" y="3530628"/>
            <a:ext cx="2419323" cy="307777"/>
          </a:xfrm>
        </p:spPr>
        <p:txBody>
          <a:bodyPr/>
          <a:lstStyle>
            <a:lvl1pPr>
              <a:defRPr>
                <a:solidFill>
                  <a:srgbClr val="7192C7"/>
                </a:solidFill>
              </a:defRPr>
            </a:lvl1pPr>
          </a:lstStyle>
          <a:p>
            <a:pPr>
              <a:spcAft>
                <a:spcPts val="600"/>
              </a:spcAft>
              <a:buClr>
                <a:srgbClr val="7DA0D7"/>
              </a:buClr>
            </a:pPr>
            <a:r>
              <a:rPr lang="de-DE"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EXPERTISE</a:t>
            </a:r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rgbClr val="7192C7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27770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">
    <p:bg>
      <p:bgPr>
        <a:solidFill>
          <a:srgbClr val="FF4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TTENTION…">
            <a:extLst>
              <a:ext uri="{FF2B5EF4-FFF2-40B4-BE49-F238E27FC236}">
                <a16:creationId xmlns:a16="http://schemas.microsoft.com/office/drawing/2014/main" id="{C32A0A91-C761-BAF3-B496-78F4F984A827}"/>
              </a:ext>
            </a:extLst>
          </p:cNvPr>
          <p:cNvSpPr/>
          <p:nvPr userDrawn="1"/>
        </p:nvSpPr>
        <p:spPr>
          <a:xfrm>
            <a:off x="217068" y="184150"/>
            <a:ext cx="11757864" cy="648970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ctr">
            <a:normAutofit/>
          </a:bodyPr>
          <a:lstStyle/>
          <a:p>
            <a:pPr algn="ctr" defTabSz="547687" hangingPunct="0">
              <a:defRPr sz="12000" spc="0">
                <a:solidFill>
                  <a:srgbClr val="000000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7200" b="1" kern="0">
                <a:solidFill>
                  <a:srgbClr val="000000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ATTENTION</a:t>
            </a:r>
          </a:p>
          <a:p>
            <a:pPr algn="ctr" defTabSz="547687" hangingPunct="0"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— This is not a template —</a:t>
            </a:r>
          </a:p>
          <a:p>
            <a:pPr algn="ctr" defTabSz="547687" hangingPunct="0">
              <a:defRPr sz="6400" spc="0">
                <a:solidFill>
                  <a:srgbClr val="FF2952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endParaRPr sz="4000" b="1" kern="0">
              <a:solidFill>
                <a:srgbClr val="FF2952"/>
              </a:solidFill>
              <a:latin typeface="Arial" panose="020B0604020202020204" pitchFamily="34" charset="0"/>
              <a:ea typeface="Graphik Bold"/>
              <a:cs typeface="Arial" panose="020B0604020202020204" pitchFamily="34" charset="0"/>
              <a:sym typeface="Graphik Bold"/>
            </a:endParaRPr>
          </a:p>
          <a:p>
            <a:pPr algn="ctr" defTabSz="547687" hangingPunct="0"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All following pages were created by </a:t>
            </a:r>
            <a:b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</a:br>
            <a:r>
              <a:rPr sz="2800" b="1" kern="0" spc="192">
                <a:solidFill>
                  <a:srgbClr val="FFFFFF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old or other presentations. </a:t>
            </a:r>
          </a:p>
          <a:p>
            <a:pPr algn="ctr" defTabSz="547687" hangingPunct="0"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endParaRPr sz="2800" b="1" kern="0" spc="192">
              <a:solidFill>
                <a:srgbClr val="FFFFFF"/>
              </a:solidFill>
              <a:latin typeface="Arial" panose="020B0604020202020204" pitchFamily="34" charset="0"/>
              <a:ea typeface="Graphik Bold"/>
              <a:cs typeface="Arial" panose="020B0604020202020204" pitchFamily="34" charset="0"/>
              <a:sym typeface="Graphik Bold"/>
            </a:endParaRPr>
          </a:p>
          <a:p>
            <a:pPr algn="ctr" defTabSz="547687" hangingPunct="0">
              <a:defRPr sz="4800" spc="0">
                <a:solidFill>
                  <a:srgbClr val="000000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sz="2800" b="1" kern="0">
                <a:solidFill>
                  <a:srgbClr val="000000"/>
                </a:solidFill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Please delete or replace!</a:t>
            </a:r>
          </a:p>
        </p:txBody>
      </p:sp>
    </p:spTree>
    <p:extLst>
      <p:ext uri="{BB962C8B-B14F-4D97-AF65-F5344CB8AC3E}">
        <p14:creationId xmlns:p14="http://schemas.microsoft.com/office/powerpoint/2010/main" val="221662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334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62" imgH="769" progId="TCLayout.ActiveDocument.1">
                  <p:embed/>
                </p:oleObj>
              </mc:Choice>
              <mc:Fallback>
                <p:oleObj name="think-cell Folie" r:id="rId3" imgW="762" imgH="76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Senacor - Angebot RMI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2039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19E478D-967E-C41A-F9B9-AA54FF94C200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3B5E64EF-4856-48DB-C089-19783BF88BD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E4C3C544-9CB1-DDAA-40F6-D602D0270BD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F1901E2B-CC59-BA9B-D1C9-8B578A9547A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055619-D590-3996-EEB3-E3B0AD77EF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FB4A13ED-E5C8-8415-0939-2CFF1623C50E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349DB247-DA0B-1D11-467B-580887DFD7D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08C56815-74A5-51E7-0FF5-A4F27CC0A4D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0272DA-58CE-021B-E5FA-70B409E01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8"/>
            <a:ext cx="11233927" cy="6155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-2 zeilige Kernaussage</a:t>
            </a:r>
            <a:br>
              <a:rPr lang="de-DE"/>
            </a:b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632481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200" b="1" i="0" baseline="0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err="1"/>
              <a:t>Kapitelüberschrift</a:t>
            </a:r>
            <a:r>
              <a:rPr lang="en-US"/>
              <a:t> </a:t>
            </a:r>
            <a:r>
              <a:rPr lang="en-US" err="1"/>
              <a:t>eingeben</a:t>
            </a:r>
            <a:endParaRPr lang="en-US"/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3" y="1775816"/>
            <a:ext cx="11233150" cy="4510684"/>
          </a:xfrm>
        </p:spPr>
        <p:txBody>
          <a:bodyPr/>
          <a:lstStyle/>
          <a:p>
            <a:pPr lvl="0"/>
            <a:r>
              <a:rPr lang="en-US" err="1"/>
              <a:t>Formatvorlagen</a:t>
            </a:r>
            <a:r>
              <a:rPr lang="en-US"/>
              <a:t> des </a:t>
            </a:r>
            <a:r>
              <a:rPr lang="en-US" err="1"/>
              <a:t>Textmasters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Ebene</a:t>
            </a:r>
          </a:p>
          <a:p>
            <a:pPr lvl="2"/>
            <a:r>
              <a:rPr lang="en-US" err="1"/>
              <a:t>Dritte</a:t>
            </a:r>
            <a:r>
              <a:rPr lang="en-US"/>
              <a:t> Ebene</a:t>
            </a:r>
          </a:p>
          <a:p>
            <a:pPr lvl="3"/>
            <a:r>
              <a:rPr lang="en-US" err="1"/>
              <a:t>Vierte</a:t>
            </a:r>
            <a:r>
              <a:rPr lang="en-US"/>
              <a:t> Ebene</a:t>
            </a:r>
          </a:p>
          <a:p>
            <a:pPr lvl="4"/>
            <a:r>
              <a:rPr lang="en-US" err="1"/>
              <a:t>Fünfte</a:t>
            </a:r>
            <a:r>
              <a:rPr lang="en-US"/>
              <a:t>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14F2448F-01E3-414B-858D-35126C2EF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820494A-F018-B706-FD1E-B34AD1FBC29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2AAE38B-0DD9-4BFD-0D55-E91777166C2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Senacor - Angebot RM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D2FA8E8-D85F-1CEE-F2F2-0286ED77463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9D730BC-161F-4DE7-A45A-05834A2D5F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94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2543674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543674" y="1530910"/>
            <a:ext cx="3918495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259AD18-06AD-A538-861B-28ED3C8BB8A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6750" y="1223963"/>
            <a:ext cx="2268538" cy="2268537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4870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62" imgH="769" progId="TCLayout.ActiveDocument.1">
                  <p:embed/>
                </p:oleObj>
              </mc:Choice>
              <mc:Fallback>
                <p:oleObj name="think-cell Folie" r:id="rId3" imgW="762" imgH="769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>
          <a:xfrm>
            <a:off x="252000" y="908651"/>
            <a:ext cx="11688000" cy="504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1628751"/>
            <a:ext cx="1168800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Senacor - Angebot RMI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20759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11221200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19E478D-967E-C41A-F9B9-AA54FF94C200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3B5E64EF-4856-48DB-C089-19783BF88BD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E4C3C544-9CB1-DDAA-40F6-D602D0270BD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F1901E2B-CC59-BA9B-D1C9-8B578A9547A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055619-D590-3996-EEB3-E3B0AD77EF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FB4A13ED-E5C8-8415-0939-2CFF1623C50E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349DB247-DA0B-1D11-467B-580887DFD7D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08C56815-74A5-51E7-0FF5-A4F27CC0A4D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0272DA-58CE-021B-E5FA-70B409E01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8"/>
            <a:ext cx="11233927" cy="6155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-2 zeilige Kernaussage</a:t>
            </a:r>
            <a:br>
              <a:rPr lang="de-DE"/>
            </a:b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837460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3775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5496049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03952" y="1692000"/>
            <a:ext cx="549604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93C8C1C-2CC6-6DEE-EF9E-7F5C5BF31FD6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F083DEB7-F224-116E-0238-AEF1309B38F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68A53D3E-9E01-3468-B213-96080B320B1F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DD6E4A1B-0662-1D07-6A65-8F0E2714377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DC2CB2CB-CE02-0F83-42B1-FD861F68892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B1097272-963D-F850-DA73-0861BE345BA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046D208F-D9FD-2427-BA4F-97350D7EA8B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9ABA535F-AD05-A922-B937-10974F80A017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9964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377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799" y="1692000"/>
            <a:ext cx="360107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12125" y="1692000"/>
            <a:ext cx="3587874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95149" y="1692000"/>
            <a:ext cx="3601076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141389E7-C206-CC53-58F7-E0B2474A546D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1" name="Freihandform: Form 7">
              <a:extLst>
                <a:ext uri="{FF2B5EF4-FFF2-40B4-BE49-F238E27FC236}">
                  <a16:creationId xmlns:a16="http://schemas.microsoft.com/office/drawing/2014/main" id="{3B66316F-D7AE-5C80-6961-137C42F7982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8">
              <a:extLst>
                <a:ext uri="{FF2B5EF4-FFF2-40B4-BE49-F238E27FC236}">
                  <a16:creationId xmlns:a16="http://schemas.microsoft.com/office/drawing/2014/main" id="{7838D151-34BC-3A48-DCE5-B984C13E69D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9">
              <a:extLst>
                <a:ext uri="{FF2B5EF4-FFF2-40B4-BE49-F238E27FC236}">
                  <a16:creationId xmlns:a16="http://schemas.microsoft.com/office/drawing/2014/main" id="{6E2CFB3C-F74C-53F7-BF06-83186102FAE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0">
              <a:extLst>
                <a:ext uri="{FF2B5EF4-FFF2-40B4-BE49-F238E27FC236}">
                  <a16:creationId xmlns:a16="http://schemas.microsoft.com/office/drawing/2014/main" id="{320DF243-5CD0-734A-F00C-DFA2CBB127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1">
              <a:extLst>
                <a:ext uri="{FF2B5EF4-FFF2-40B4-BE49-F238E27FC236}">
                  <a16:creationId xmlns:a16="http://schemas.microsoft.com/office/drawing/2014/main" id="{A4E53DCD-023B-D0C3-27E2-64528B368DF9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2">
              <a:extLst>
                <a:ext uri="{FF2B5EF4-FFF2-40B4-BE49-F238E27FC236}">
                  <a16:creationId xmlns:a16="http://schemas.microsoft.com/office/drawing/2014/main" id="{3968BC02-C322-420B-C35B-D88E99F7FA16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3">
              <a:extLst>
                <a:ext uri="{FF2B5EF4-FFF2-40B4-BE49-F238E27FC236}">
                  <a16:creationId xmlns:a16="http://schemas.microsoft.com/office/drawing/2014/main" id="{8BFB3F2C-485F-6890-A4BD-5556CB1C9ECF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6081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974">
          <p15:clr>
            <a:srgbClr val="FBAE40"/>
          </p15:clr>
        </p15:guide>
        <p15:guide id="2" pos="2570">
          <p15:clr>
            <a:srgbClr val="FBAE40"/>
          </p15:clr>
        </p15:guide>
        <p15:guide id="3" pos="2706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799" y="1692000"/>
            <a:ext cx="2700964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012237" y="1692000"/>
            <a:ext cx="2687761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24225" y="1692000"/>
            <a:ext cx="2700962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6454B90-C47C-343C-EBD2-A3CDB7E664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66813" y="1692000"/>
            <a:ext cx="2700962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7228E40-D794-D694-384B-F6E414E46183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4F9AD7A3-6B92-B962-66D4-56529CEB4237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8">
              <a:extLst>
                <a:ext uri="{FF2B5EF4-FFF2-40B4-BE49-F238E27FC236}">
                  <a16:creationId xmlns:a16="http://schemas.microsoft.com/office/drawing/2014/main" id="{B6C2D284-D6E3-C393-3BCD-5573759A49B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D33A480-49E8-2C44-10D1-7C3CFE1447B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D3027B3C-05C3-3966-E0B0-684DD503695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1">
              <a:extLst>
                <a:ext uri="{FF2B5EF4-FFF2-40B4-BE49-F238E27FC236}">
                  <a16:creationId xmlns:a16="http://schemas.microsoft.com/office/drawing/2014/main" id="{28241F37-E0B6-1A46-0543-9AD2EFA57204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2">
              <a:extLst>
                <a:ext uri="{FF2B5EF4-FFF2-40B4-BE49-F238E27FC236}">
                  <a16:creationId xmlns:a16="http://schemas.microsoft.com/office/drawing/2014/main" id="{51127DB7-B1B7-1561-9E3A-0B13F8B46C3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40FF7EBE-37E0-A6B6-7D55-4C92EB62994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7055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86">
          <p15:clr>
            <a:srgbClr val="FBAE40"/>
          </p15:clr>
        </p15:guide>
        <p15:guide id="2" pos="2003">
          <p15:clr>
            <a:srgbClr val="FBAE40"/>
          </p15:clr>
        </p15:guide>
        <p15:guide id="3" pos="2094">
          <p15:clr>
            <a:srgbClr val="FBAE40"/>
          </p15:clr>
        </p15:guide>
        <p15:guide id="4" pos="5677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1999"/>
            <a:ext cx="2124698" cy="451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586800" y="1692000"/>
            <a:ext cx="211149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16500" y="1692000"/>
            <a:ext cx="2158999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6454B90-C47C-343C-EBD2-A3CDB7E664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332539" y="1692000"/>
            <a:ext cx="211149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201F4E4-054B-6F4E-30C8-650F5084718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747962" y="1692000"/>
            <a:ext cx="2124075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8B4EFDC3-B9F7-E62A-A537-0C40C94C5656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3" name="Freihandform: Form 7">
              <a:extLst>
                <a:ext uri="{FF2B5EF4-FFF2-40B4-BE49-F238E27FC236}">
                  <a16:creationId xmlns:a16="http://schemas.microsoft.com/office/drawing/2014/main" id="{FCEB906B-A7D0-1E04-8749-83E97118CA9D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8">
              <a:extLst>
                <a:ext uri="{FF2B5EF4-FFF2-40B4-BE49-F238E27FC236}">
                  <a16:creationId xmlns:a16="http://schemas.microsoft.com/office/drawing/2014/main" id="{91095A8B-BE50-720F-38CE-E4B69E9CFE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C882C585-A167-5A5E-466F-69934B94584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0">
              <a:extLst>
                <a:ext uri="{FF2B5EF4-FFF2-40B4-BE49-F238E27FC236}">
                  <a16:creationId xmlns:a16="http://schemas.microsoft.com/office/drawing/2014/main" id="{B5F34BE9-878F-53C2-C0A5-2440A026896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1">
              <a:extLst>
                <a:ext uri="{FF2B5EF4-FFF2-40B4-BE49-F238E27FC236}">
                  <a16:creationId xmlns:a16="http://schemas.microsoft.com/office/drawing/2014/main" id="{96D671C3-7856-2EE9-F350-AC02E1532A0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2">
              <a:extLst>
                <a:ext uri="{FF2B5EF4-FFF2-40B4-BE49-F238E27FC236}">
                  <a16:creationId xmlns:a16="http://schemas.microsoft.com/office/drawing/2014/main" id="{FEE10419-05AF-A2EA-5ABC-82BB32B1BB2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3">
              <a:extLst>
                <a:ext uri="{FF2B5EF4-FFF2-40B4-BE49-F238E27FC236}">
                  <a16:creationId xmlns:a16="http://schemas.microsoft.com/office/drawing/2014/main" id="{AA8D1F5E-F0A0-E36C-9C04-FF6293C0F75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74639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040">
          <p15:clr>
            <a:srgbClr val="FBAE40"/>
          </p15:clr>
        </p15:guide>
        <p15:guide id="2" pos="1640">
          <p15:clr>
            <a:srgbClr val="FBAE40"/>
          </p15:clr>
        </p15:guide>
        <p15:guide id="3" pos="1731">
          <p15:clr>
            <a:srgbClr val="FBAE40"/>
          </p15:clr>
        </p15:guide>
        <p15:guide id="4" pos="5949">
          <p15:clr>
            <a:srgbClr val="FBAE40"/>
          </p15:clr>
        </p15:guide>
        <p15:guide id="5" pos="3160">
          <p15:clr>
            <a:srgbClr val="FBAE40"/>
          </p15:clr>
        </p15:guide>
        <p15:guide id="6" pos="3069">
          <p15:clr>
            <a:srgbClr val="FBAE40"/>
          </p15:clr>
        </p15:guide>
        <p15:guide id="7" pos="4520">
          <p15:clr>
            <a:srgbClr val="FBAE40"/>
          </p15:clr>
        </p15:guide>
        <p15:guide id="8" pos="46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2000"/>
            <a:ext cx="3601076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12125" y="1692000"/>
            <a:ext cx="36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95149" y="1692000"/>
            <a:ext cx="3601076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D068EBBA-B8C8-BACC-A874-07A95FA384F0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120063" y="4032000"/>
            <a:ext cx="36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91EAF0C-C8EF-FF54-89B6-A61F05488EF2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7" name="Freihandform: Form 7">
              <a:extLst>
                <a:ext uri="{FF2B5EF4-FFF2-40B4-BE49-F238E27FC236}">
                  <a16:creationId xmlns:a16="http://schemas.microsoft.com/office/drawing/2014/main" id="{0CB1BE2F-7784-9A9E-DF54-A19B00488CDD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8">
              <a:extLst>
                <a:ext uri="{FF2B5EF4-FFF2-40B4-BE49-F238E27FC236}">
                  <a16:creationId xmlns:a16="http://schemas.microsoft.com/office/drawing/2014/main" id="{D943CACF-5D02-F7AF-3061-D76AA4F07102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9">
              <a:extLst>
                <a:ext uri="{FF2B5EF4-FFF2-40B4-BE49-F238E27FC236}">
                  <a16:creationId xmlns:a16="http://schemas.microsoft.com/office/drawing/2014/main" id="{4BB87B65-7759-B46A-5C87-78E8581EBC6B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0">
              <a:extLst>
                <a:ext uri="{FF2B5EF4-FFF2-40B4-BE49-F238E27FC236}">
                  <a16:creationId xmlns:a16="http://schemas.microsoft.com/office/drawing/2014/main" id="{319C74BD-C9A9-EE0C-929A-E2DE316EF41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11">
              <a:extLst>
                <a:ext uri="{FF2B5EF4-FFF2-40B4-BE49-F238E27FC236}">
                  <a16:creationId xmlns:a16="http://schemas.microsoft.com/office/drawing/2014/main" id="{514AF8FA-3761-B95B-36F6-B3B93B57FF8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2">
              <a:extLst>
                <a:ext uri="{FF2B5EF4-FFF2-40B4-BE49-F238E27FC236}">
                  <a16:creationId xmlns:a16="http://schemas.microsoft.com/office/drawing/2014/main" id="{36547CBB-B272-BA61-48CA-BBA4D7776215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ihandform: Form 13">
              <a:extLst>
                <a:ext uri="{FF2B5EF4-FFF2-40B4-BE49-F238E27FC236}">
                  <a16:creationId xmlns:a16="http://schemas.microsoft.com/office/drawing/2014/main" id="{044A1871-744E-DCAA-1181-EFE93BD5905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Inhaltsplatzhalter 9">
            <a:extLst>
              <a:ext uri="{FF2B5EF4-FFF2-40B4-BE49-F238E27FC236}">
                <a16:creationId xmlns:a16="http://schemas.microsoft.com/office/drawing/2014/main" id="{84ACD17D-69B1-0D31-0E70-D5919815A6E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9425" y="4032000"/>
            <a:ext cx="3600449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1" name="Inhaltsplatzhalter 11">
            <a:extLst>
              <a:ext uri="{FF2B5EF4-FFF2-40B4-BE49-F238E27FC236}">
                <a16:creationId xmlns:a16="http://schemas.microsoft.com/office/drawing/2014/main" id="{C9E91A7D-A34B-FFA0-14CD-49796D5FB60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95775" y="4032000"/>
            <a:ext cx="360045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34201368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974">
          <p15:clr>
            <a:srgbClr val="FBAE40"/>
          </p15:clr>
        </p15:guide>
        <p15:guide id="2" pos="2570">
          <p15:clr>
            <a:srgbClr val="FBAE40"/>
          </p15:clr>
        </p15:guide>
        <p15:guide id="3" pos="2706">
          <p15:clr>
            <a:srgbClr val="FBAE40"/>
          </p15:clr>
        </p15:guide>
        <p15:guide id="4" pos="5110">
          <p15:clr>
            <a:srgbClr val="FBAE40"/>
          </p15:clr>
        </p15:guide>
        <p15:guide id="5" orient="horz" pos="2432">
          <p15:clr>
            <a:srgbClr val="FBAE40"/>
          </p15:clr>
        </p15:guide>
        <p15:guide id="6" orient="horz" pos="256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6156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2000"/>
            <a:ext cx="2700962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012236" y="1692000"/>
            <a:ext cx="27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24225" y="1692000"/>
            <a:ext cx="2700962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6454B90-C47C-343C-EBD2-A3CDB7E664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66813" y="1692000"/>
            <a:ext cx="27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7228E40-D794-D694-384B-F6E414E46183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4F9AD7A3-6B92-B962-66D4-56529CEB4237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8">
              <a:extLst>
                <a:ext uri="{FF2B5EF4-FFF2-40B4-BE49-F238E27FC236}">
                  <a16:creationId xmlns:a16="http://schemas.microsoft.com/office/drawing/2014/main" id="{B6C2D284-D6E3-C393-3BCD-5573759A49B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D33A480-49E8-2C44-10D1-7C3CFE1447B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D3027B3C-05C3-3966-E0B0-684DD503695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1">
              <a:extLst>
                <a:ext uri="{FF2B5EF4-FFF2-40B4-BE49-F238E27FC236}">
                  <a16:creationId xmlns:a16="http://schemas.microsoft.com/office/drawing/2014/main" id="{28241F37-E0B6-1A46-0543-9AD2EFA57204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2">
              <a:extLst>
                <a:ext uri="{FF2B5EF4-FFF2-40B4-BE49-F238E27FC236}">
                  <a16:creationId xmlns:a16="http://schemas.microsoft.com/office/drawing/2014/main" id="{51127DB7-B1B7-1561-9E3A-0B13F8B46C3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40FF7EBE-37E0-A6B6-7D55-4C92EB62994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Inhaltsplatzhalter 27">
            <a:extLst>
              <a:ext uri="{FF2B5EF4-FFF2-40B4-BE49-F238E27FC236}">
                <a16:creationId xmlns:a16="http://schemas.microsoft.com/office/drawing/2014/main" id="{6832BC50-CB14-A9FF-356C-FA925C21D70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841" y="4032000"/>
            <a:ext cx="2700962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0" name="Inhaltsplatzhalter 29">
            <a:extLst>
              <a:ext uri="{FF2B5EF4-FFF2-40B4-BE49-F238E27FC236}">
                <a16:creationId xmlns:a16="http://schemas.microsoft.com/office/drawing/2014/main" id="{C39AA555-B072-B329-BB31-96116F1479A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24225" y="4032000"/>
            <a:ext cx="2700338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1" name="Inhaltsplatzhalter 31">
            <a:extLst>
              <a:ext uri="{FF2B5EF4-FFF2-40B4-BE49-F238E27FC236}">
                <a16:creationId xmlns:a16="http://schemas.microsoft.com/office/drawing/2014/main" id="{0D398196-4C4F-14C8-5746-4E3B2100FE1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67438" y="4032000"/>
            <a:ext cx="2699375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2" name="Inhaltsplatzhalter 33">
            <a:extLst>
              <a:ext uri="{FF2B5EF4-FFF2-40B4-BE49-F238E27FC236}">
                <a16:creationId xmlns:a16="http://schemas.microsoft.com/office/drawing/2014/main" id="{6A63AFE8-A5D7-3EDC-B0C1-3DC44C1D10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12236" y="4032000"/>
            <a:ext cx="2700339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0015326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86">
          <p15:clr>
            <a:srgbClr val="FBAE40"/>
          </p15:clr>
        </p15:guide>
        <p15:guide id="2" pos="2003">
          <p15:clr>
            <a:srgbClr val="FBAE40"/>
          </p15:clr>
        </p15:guide>
        <p15:guide id="3" pos="2094">
          <p15:clr>
            <a:srgbClr val="FBAE40"/>
          </p15:clr>
        </p15:guide>
        <p15:guide id="4" pos="5677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orient="horz" pos="2432">
          <p15:clr>
            <a:srgbClr val="FBAE40"/>
          </p15:clr>
        </p15:guide>
        <p15:guide id="8" orient="horz" pos="256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D079D81-DC09-8873-BB20-7ED128B04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7162842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7772400" imgH="10058400" progId="TCLayout.ActiveDocument.1">
                  <p:embed/>
                </p:oleObj>
              </mc:Choice>
              <mc:Fallback>
                <p:oleObj name="think-cell Folie" r:id="rId32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079D81-DC09-8873-BB20-7ED128B04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9" y="719999"/>
            <a:ext cx="11233927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- Angebot RMI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5CE9A30-C9AE-3917-8A79-651505040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92000"/>
            <a:ext cx="11221201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1807968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  <p:sldLayoutId id="2147483693" r:id="rId22"/>
    <p:sldLayoutId id="2147483694" r:id="rId23"/>
    <p:sldLayoutId id="2147483695" r:id="rId24"/>
    <p:sldLayoutId id="2147483696" r:id="rId25"/>
    <p:sldLayoutId id="2147483697" r:id="rId26"/>
    <p:sldLayoutId id="2147483698" r:id="rId27"/>
    <p:sldLayoutId id="2147483699" r:id="rId28"/>
    <p:sldLayoutId id="2147483700" r:id="rId2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Symbol" pitchFamily="2" charset="2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rabi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lphaL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4020">
          <p15:clr>
            <a:srgbClr val="F26B43"/>
          </p15:clr>
        </p15:guide>
        <p15:guide id="3" orient="horz" pos="1063">
          <p15:clr>
            <a:srgbClr val="F26B43"/>
          </p15:clr>
        </p15:guide>
        <p15:guide id="4" pos="302">
          <p15:clr>
            <a:srgbClr val="F26B43"/>
          </p15:clr>
        </p15:guide>
        <p15:guide id="5" pos="7378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03C424-484C-8651-3B1C-744A4A6810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2B9F1EE-DF3D-8F43-3652-40597CC388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B9F1EE-DF3D-8F43-3652-40597CC388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27A3643-7BE0-E377-DC90-0E6E5B5C3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Nam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812527A-E247-60BF-9F13-B402DB1E2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ARTNER / PRINCIPAL CONSULTAN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B1A1E4E-DF6B-C62B-D137-6CDF249F8A3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pPr marL="179705" indent="-179705"/>
            <a:endParaRPr lang="de-DE" dirty="0">
              <a:latin typeface="Arial"/>
              <a:cs typeface="Arial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967CE4C-361C-677C-FF0E-80F0D629D95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pPr marL="179705" indent="-179705"/>
            <a:endParaRPr lang="de-DE" dirty="0">
              <a:latin typeface="Arial"/>
              <a:cs typeface="Arial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956185B-D49D-EA03-0C6E-358E4AE8ABE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43674" y="1530910"/>
            <a:ext cx="3214778" cy="1898090"/>
          </a:xfrm>
        </p:spPr>
        <p:txBody>
          <a:bodyPr vert="horz" wrap="square" lIns="0" tIns="0" rIns="0" bIns="0" rtlCol="0" anchor="t">
            <a:noAutofit/>
          </a:bodyPr>
          <a:lstStyle/>
          <a:p>
            <a:pPr marL="179705" lvl="2" indent="-179705"/>
            <a:endParaRPr lang="de-DE" sz="11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2A0AB52-778F-FFC7-5A3A-B3F3B4A90DB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666523" y="1530910"/>
            <a:ext cx="5046204" cy="1950990"/>
          </a:xfrm>
          <a:ln>
            <a:noFill/>
          </a:ln>
        </p:spPr>
        <p:txBody>
          <a:bodyPr vert="horz" wrap="square" lIns="0" tIns="0" rIns="0" bIns="0" rtlCol="0" anchor="t">
            <a:noAutofit/>
          </a:bodyPr>
          <a:lstStyle/>
          <a:p>
            <a:pPr marL="179705" lvl="2" indent="-179705"/>
            <a:endParaRPr lang="de-DE" sz="1100" dirty="0"/>
          </a:p>
        </p:txBody>
      </p:sp>
      <p:sp>
        <p:nvSpPr>
          <p:cNvPr id="21" name="Fußzeilenplatzhalter 20">
            <a:extLst>
              <a:ext uri="{FF2B5EF4-FFF2-40B4-BE49-F238E27FC236}">
                <a16:creationId xmlns:a16="http://schemas.microsoft.com/office/drawing/2014/main" id="{BC5B7B73-E4E4-9F49-96F3-6B7936C5694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- Angebot RMI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55C0D2F1-2477-35B3-20AB-DB432CFE43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7188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191D1FE-6183-BA29-05A6-3805F8F8EE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37835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91D1FE-6183-BA29-05A6-3805F8F8E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E04CEC9-45D0-0D57-22F2-3CCA2949EC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ARTNER / PRINCIPAL CONSULTAN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021667-695D-80C6-5032-BDCBE8196B2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Senacor - Angebot RM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10B75F-1826-D166-5A47-FD688E8037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9D730BC-161F-4DE7-A45A-05834A2D5F9B}" type="slidenum">
              <a:rPr lang="en-US" smtClean="0"/>
              <a:t>2</a:t>
            </a:fld>
            <a:endParaRPr lang="en-US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7AC05725-E72D-6E76-1AC9-09CF21132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9" y="719998"/>
            <a:ext cx="11233927" cy="307777"/>
          </a:xfrm>
        </p:spPr>
        <p:txBody>
          <a:bodyPr vert="horz"/>
          <a:lstStyle/>
          <a:p>
            <a:r>
              <a:rPr lang="de-DE" dirty="0"/>
              <a:t>Nam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5DE7E695-DED7-C206-E678-6B6BCFB3CB15}"/>
              </a:ext>
            </a:extLst>
          </p:cNvPr>
          <p:cNvSpPr txBox="1">
            <a:spLocks/>
          </p:cNvSpPr>
          <p:nvPr/>
        </p:nvSpPr>
        <p:spPr>
          <a:xfrm>
            <a:off x="479424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Font typeface="Wingdings" panose="05000000000000000000" pitchFamily="2" charset="2"/>
              <a:buNone/>
            </a:pPr>
            <a:r>
              <a:rPr lang="de-DE" sz="1600" b="1" dirty="0">
                <a:solidFill>
                  <a:schemeClr val="accent1"/>
                </a:solidFill>
              </a:rPr>
              <a:t>Ergänzung: </a:t>
            </a:r>
            <a:r>
              <a:rPr lang="de-DE" sz="1600" b="1" dirty="0" err="1">
                <a:solidFill>
                  <a:schemeClr val="accent1"/>
                </a:solidFill>
              </a:rPr>
              <a:t>Skill</a:t>
            </a:r>
            <a:r>
              <a:rPr lang="de-DE" sz="1600" b="1" dirty="0">
                <a:solidFill>
                  <a:schemeClr val="accent1"/>
                </a:solidFill>
              </a:rPr>
              <a:t> Profil / Tech Stack</a:t>
            </a:r>
          </a:p>
          <a:p>
            <a:pPr marL="179705" lvl="2" indent="-179705">
              <a:lnSpc>
                <a:spcPct val="110000"/>
              </a:lnSpc>
              <a:buClrTx/>
              <a:defRPr/>
            </a:pPr>
            <a:endParaRPr lang="de-DE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705" lvl="2" indent="-179705">
              <a:lnSpc>
                <a:spcPct val="110000"/>
              </a:lnSpc>
              <a:buClrTx/>
              <a:defRPr/>
            </a:pPr>
            <a:endParaRPr lang="de-DE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705" lvl="2" indent="-179705">
              <a:lnSpc>
                <a:spcPct val="110000"/>
              </a:lnSpc>
              <a:buClrTx/>
              <a:defRPr/>
            </a:pPr>
            <a:endParaRPr lang="de-DE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buNone/>
            </a:pP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7F21CE1F-0638-9E13-2EBD-607EC104AF5F}"/>
              </a:ext>
            </a:extLst>
          </p:cNvPr>
          <p:cNvSpPr txBox="1">
            <a:spLocks/>
          </p:cNvSpPr>
          <p:nvPr/>
        </p:nvSpPr>
        <p:spPr>
          <a:xfrm>
            <a:off x="6335902" y="1775816"/>
            <a:ext cx="5376672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accent1"/>
                </a:solidFill>
              </a:rPr>
              <a:t>Ergänzung: Projekterfahrung</a:t>
            </a:r>
          </a:p>
        </p:txBody>
      </p:sp>
      <p:cxnSp>
        <p:nvCxnSpPr>
          <p:cNvPr id="19" name="Straight Connector 19">
            <a:extLst>
              <a:ext uri="{FF2B5EF4-FFF2-40B4-BE49-F238E27FC236}">
                <a16:creationId xmlns:a16="http://schemas.microsoft.com/office/drawing/2014/main" id="{701677E6-E8FE-DEE0-D19E-1ABE6E7B26B1}"/>
              </a:ext>
            </a:extLst>
          </p:cNvPr>
          <p:cNvCxnSpPr/>
          <p:nvPr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038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N+gLYxQxlEnpXhR9I8ilkFAAAAAAADAAAAAwADAAAAAQADAAIA////////BAAAAAMAEAALeZ7+C+LFekuxTiohIY6caA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LQ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aAAZMaW5rZWRTaGFwZXNEYXRhUHJvcGVydHlfMAUAAAAAAAQAAAADAAQAAAABAAQAAAADAP///////wQAAAADAP///////wQAAAADAP///////wQAAAADAP///////wQAAAADAP///////wMABgEDAAAAAwD///////8lAAZMaW5rZWRTaGFwZVByZXNlbnRhdGlvblNldHRpbmdzRGF0YV8wBQAAAAEABAAAAAAABAAAAAI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N+gLYxQxlEnpXhR9I8ilkDRGF0YQAbAAAABExpbmtlZFNoYXBlRGF0YQAFAAAAAAACTmFtZQAZAAAATGlua2VkU2hhcGVzRGF0YVByb3BlcnR5ABBWZXJzaW9uAAAAAAAJTGFzdFdyaXRlACghm719AQAAAAEA/////8YAxgAAAAVfaWQAEAAAAAR5nv4L4sV6S7FOKiEhjpxoA0RhdGEAUwAAAAhQcmVzZW50YXRpb25TY2FubmVkRm9yTGlua2VkU2hhcGVzAAECTnVtYmVyRm9ybWF0U2VwYXJhdG9yTW9kZQAKAAAAQXV0b21hdGljAAACTmFtZQAkAAAATGlua2VkU2hhcGVQcmVzZW50YXRpb25TZXR0aW5nc0RhdGEAEFZlcnNpb24AAAAAAAlMYXN0V3JpdGUAdiGbvX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 2023 (Light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330"/>
          </a:spcAft>
          <a:defRPr sz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-Master-Template_FY23 (1)" id="{9DCD41C5-18B0-8744-80D8-0DCF5412B8BC}" vid="{7ED559E5-A365-4E48-AA1D-AF663B77E361}"/>
    </a:ext>
  </a:extLst>
</a:theme>
</file>

<file path=ppt/theme/theme2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69A2B9592B44C89D12E69AC892C99" ma:contentTypeVersion="13" ma:contentTypeDescription="Ein neues Dokument erstellen." ma:contentTypeScope="" ma:versionID="e751e2ca1d7ce197800ba94b0f09aa65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ab5c457f17bbc802fd4f1b72ab1df8c0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3AE9A0-B25E-4465-AA44-CA4C6047A7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606D539-F790-4E60-B49C-0FF012C5F1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enacor</Template>
  <TotalTime>0</TotalTime>
  <Words>30</Words>
  <Application>Microsoft Macintosh PowerPoint</Application>
  <PresentationFormat>Widescreen</PresentationFormat>
  <Paragraphs>1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Barlow</vt:lpstr>
      <vt:lpstr>Symbol</vt:lpstr>
      <vt:lpstr>Wingdings</vt:lpstr>
      <vt:lpstr>Senacor 2023 (Light)</vt:lpstr>
      <vt:lpstr>think-cell Folie</vt:lpstr>
      <vt:lpstr>Name</vt:lpstr>
      <vt:lpstr>Na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cp:lastModifiedBy>Heinrich, Daniel</cp:lastModifiedBy>
  <cp:revision>24</cp:revision>
  <dcterms:created xsi:type="dcterms:W3CDTF">2020-05-29T06:26:02Z</dcterms:created>
  <dcterms:modified xsi:type="dcterms:W3CDTF">2025-06-03T07:58:35Z</dcterms:modified>
</cp:coreProperties>
</file>